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2" r:id="rId4"/>
  </p:sldMasterIdLst>
  <p:notesMasterIdLst>
    <p:notesMasterId r:id="rId10"/>
  </p:notesMasterIdLst>
  <p:handoutMasterIdLst>
    <p:handoutMasterId r:id="rId11"/>
  </p:handoutMasterIdLst>
  <p:sldIdLst>
    <p:sldId id="288" r:id="rId5"/>
    <p:sldId id="393" r:id="rId6"/>
    <p:sldId id="397" r:id="rId7"/>
    <p:sldId id="399" r:id="rId8"/>
    <p:sldId id="330" r:id="rId9"/>
  </p:sldIdLst>
  <p:sldSz cx="9144000" cy="5715000" type="screen16x10"/>
  <p:notesSz cx="6858000" cy="9144000"/>
  <p:custDataLst>
    <p:tags r:id="rId12"/>
  </p:custDataLst>
  <p:defaultTextStyle>
    <a:defPPr>
      <a:defRPr lang="en-US"/>
    </a:defPPr>
    <a:lvl1pPr marL="0" algn="l" defTabSz="160457" rtl="0" eaLnBrk="1" latinLnBrk="0" hangingPunct="1">
      <a:defRPr sz="632" kern="1200">
        <a:solidFill>
          <a:schemeClr val="tx1"/>
        </a:solidFill>
        <a:latin typeface="+mn-lt"/>
        <a:ea typeface="+mn-ea"/>
        <a:cs typeface="+mn-cs"/>
      </a:defRPr>
    </a:lvl1pPr>
    <a:lvl2pPr marL="160457" algn="l" defTabSz="160457" rtl="0" eaLnBrk="1" latinLnBrk="0" hangingPunct="1">
      <a:defRPr sz="632" kern="1200">
        <a:solidFill>
          <a:schemeClr val="tx1"/>
        </a:solidFill>
        <a:latin typeface="+mn-lt"/>
        <a:ea typeface="+mn-ea"/>
        <a:cs typeface="+mn-cs"/>
      </a:defRPr>
    </a:lvl2pPr>
    <a:lvl3pPr marL="320913" algn="l" defTabSz="160457" rtl="0" eaLnBrk="1" latinLnBrk="0" hangingPunct="1">
      <a:defRPr sz="632" kern="1200">
        <a:solidFill>
          <a:schemeClr val="tx1"/>
        </a:solidFill>
        <a:latin typeface="+mn-lt"/>
        <a:ea typeface="+mn-ea"/>
        <a:cs typeface="+mn-cs"/>
      </a:defRPr>
    </a:lvl3pPr>
    <a:lvl4pPr marL="481370" algn="l" defTabSz="160457" rtl="0" eaLnBrk="1" latinLnBrk="0" hangingPunct="1">
      <a:defRPr sz="632" kern="1200">
        <a:solidFill>
          <a:schemeClr val="tx1"/>
        </a:solidFill>
        <a:latin typeface="+mn-lt"/>
        <a:ea typeface="+mn-ea"/>
        <a:cs typeface="+mn-cs"/>
      </a:defRPr>
    </a:lvl4pPr>
    <a:lvl5pPr marL="641827" algn="l" defTabSz="160457" rtl="0" eaLnBrk="1" latinLnBrk="0" hangingPunct="1">
      <a:defRPr sz="632" kern="1200">
        <a:solidFill>
          <a:schemeClr val="tx1"/>
        </a:solidFill>
        <a:latin typeface="+mn-lt"/>
        <a:ea typeface="+mn-ea"/>
        <a:cs typeface="+mn-cs"/>
      </a:defRPr>
    </a:lvl5pPr>
    <a:lvl6pPr marL="802283" algn="l" defTabSz="160457" rtl="0" eaLnBrk="1" latinLnBrk="0" hangingPunct="1">
      <a:defRPr sz="632" kern="1200">
        <a:solidFill>
          <a:schemeClr val="tx1"/>
        </a:solidFill>
        <a:latin typeface="+mn-lt"/>
        <a:ea typeface="+mn-ea"/>
        <a:cs typeface="+mn-cs"/>
      </a:defRPr>
    </a:lvl6pPr>
    <a:lvl7pPr marL="962740" algn="l" defTabSz="160457" rtl="0" eaLnBrk="1" latinLnBrk="0" hangingPunct="1">
      <a:defRPr sz="632" kern="1200">
        <a:solidFill>
          <a:schemeClr val="tx1"/>
        </a:solidFill>
        <a:latin typeface="+mn-lt"/>
        <a:ea typeface="+mn-ea"/>
        <a:cs typeface="+mn-cs"/>
      </a:defRPr>
    </a:lvl7pPr>
    <a:lvl8pPr marL="1123196" algn="l" defTabSz="160457" rtl="0" eaLnBrk="1" latinLnBrk="0" hangingPunct="1">
      <a:defRPr sz="632" kern="1200">
        <a:solidFill>
          <a:schemeClr val="tx1"/>
        </a:solidFill>
        <a:latin typeface="+mn-lt"/>
        <a:ea typeface="+mn-ea"/>
        <a:cs typeface="+mn-cs"/>
      </a:defRPr>
    </a:lvl8pPr>
    <a:lvl9pPr marL="1283653" algn="l" defTabSz="160457" rtl="0" eaLnBrk="1" latinLnBrk="0" hangingPunct="1">
      <a:defRPr sz="63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08AC04DB-FBCE-482A-A67B-97208E4E97FE}">
          <p14:sldIdLst>
            <p14:sldId id="288"/>
            <p14:sldId id="393"/>
            <p14:sldId id="397"/>
            <p14:sldId id="399"/>
            <p14:sldId id="330"/>
          </p14:sldIdLst>
        </p14:section>
      </p14:sectionLst>
    </p:ext>
    <p:ext uri="{EFAFB233-063F-42B5-8137-9DF3F51BA10A}">
      <p15:sldGuideLst xmlns:p15="http://schemas.microsoft.com/office/powerpoint/2012/main">
        <p15:guide id="1" pos="680" userDrawn="1">
          <p15:clr>
            <a:srgbClr val="A4A3A4"/>
          </p15:clr>
        </p15:guide>
        <p15:guide id="2" orient="horz" pos="18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an Kollak" initials="SK" lastIdx="1" clrIdx="0">
    <p:extLst>
      <p:ext uri="{19B8F6BF-5375-455C-9EA6-DF929625EA0E}">
        <p15:presenceInfo xmlns:p15="http://schemas.microsoft.com/office/powerpoint/2012/main" userId="S-1-5-21-594793799-739796040-772316394-3129" providerId="AD"/>
      </p:ext>
    </p:extLst>
  </p:cmAuthor>
  <p:cmAuthor id="2" name="Microsoft-Konto" initials="M" lastIdx="8" clrIdx="1">
    <p:extLst>
      <p:ext uri="{19B8F6BF-5375-455C-9EA6-DF929625EA0E}">
        <p15:presenceInfo xmlns:p15="http://schemas.microsoft.com/office/powerpoint/2012/main" userId="05e6242f3b4b3a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6CB9"/>
    <a:srgbClr val="8D96CD"/>
    <a:srgbClr val="878787"/>
    <a:srgbClr val="05FBEF"/>
    <a:srgbClr val="FBDE05"/>
    <a:srgbClr val="04DEFC"/>
    <a:srgbClr val="03C1FD"/>
    <a:srgbClr val="0274FE"/>
    <a:srgbClr val="F4FA06"/>
    <a:srgbClr val="66DD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D7DE8B-D9B0-4CD2-AC48-C748A74D1FC1}" v="12" dt="2025-04-06T08:52:06.3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24" autoAdjust="0"/>
    <p:restoredTop sz="72356" autoAdjust="0"/>
  </p:normalViewPr>
  <p:slideViewPr>
    <p:cSldViewPr snapToGrid="0" snapToObjects="1" showGuides="1">
      <p:cViewPr varScale="1">
        <p:scale>
          <a:sx n="79" d="100"/>
          <a:sy n="79" d="100"/>
        </p:scale>
        <p:origin x="1087" y="271"/>
      </p:cViewPr>
      <p:guideLst>
        <p:guide pos="680"/>
        <p:guide orient="horz" pos="180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68" d="100"/>
          <a:sy n="68" d="100"/>
        </p:scale>
        <p:origin x="3101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ena Schmidt" userId="ac0ef34742874e92" providerId="LiveId" clId="{FBD7DE8B-D9B0-4CD2-AC48-C748A74D1FC1}"/>
    <pc:docChg chg="undo custSel addSld delSld modSld modSection">
      <pc:chgData name="Verena Schmidt" userId="ac0ef34742874e92" providerId="LiveId" clId="{FBD7DE8B-D9B0-4CD2-AC48-C748A74D1FC1}" dt="2025-04-06T08:56:13.924" v="606" actId="1038"/>
      <pc:docMkLst>
        <pc:docMk/>
      </pc:docMkLst>
      <pc:sldChg chg="modSp mod">
        <pc:chgData name="Verena Schmidt" userId="ac0ef34742874e92" providerId="LiveId" clId="{FBD7DE8B-D9B0-4CD2-AC48-C748A74D1FC1}" dt="2025-04-06T08:14:52.894" v="1" actId="20577"/>
        <pc:sldMkLst>
          <pc:docMk/>
          <pc:sldMk cId="112693987" sldId="288"/>
        </pc:sldMkLst>
        <pc:spChg chg="mod">
          <ac:chgData name="Verena Schmidt" userId="ac0ef34742874e92" providerId="LiveId" clId="{FBD7DE8B-D9B0-4CD2-AC48-C748A74D1FC1}" dt="2025-04-06T08:14:52.894" v="1" actId="20577"/>
          <ac:spMkLst>
            <pc:docMk/>
            <pc:sldMk cId="112693987" sldId="288"/>
            <ac:spMk id="2" creationId="{DFA320E1-0ADE-062E-C4A2-95791BD2881E}"/>
          </ac:spMkLst>
        </pc:spChg>
      </pc:sldChg>
      <pc:sldChg chg="modSp mod">
        <pc:chgData name="Verena Schmidt" userId="ac0ef34742874e92" providerId="LiveId" clId="{FBD7DE8B-D9B0-4CD2-AC48-C748A74D1FC1}" dt="2025-04-06T08:56:13.924" v="606" actId="1038"/>
        <pc:sldMkLst>
          <pc:docMk/>
          <pc:sldMk cId="3486053959" sldId="393"/>
        </pc:sldMkLst>
        <pc:spChg chg="mod">
          <ac:chgData name="Verena Schmidt" userId="ac0ef34742874e92" providerId="LiveId" clId="{FBD7DE8B-D9B0-4CD2-AC48-C748A74D1FC1}" dt="2025-04-06T08:15:00.048" v="5" actId="20577"/>
          <ac:spMkLst>
            <pc:docMk/>
            <pc:sldMk cId="3486053959" sldId="393"/>
            <ac:spMk id="3" creationId="{00000000-0000-0000-0000-000000000000}"/>
          </ac:spMkLst>
        </pc:spChg>
        <pc:spChg chg="mod">
          <ac:chgData name="Verena Schmidt" userId="ac0ef34742874e92" providerId="LiveId" clId="{FBD7DE8B-D9B0-4CD2-AC48-C748A74D1FC1}" dt="2025-04-06T08:56:02.076" v="580" actId="1035"/>
          <ac:spMkLst>
            <pc:docMk/>
            <pc:sldMk cId="3486053959" sldId="393"/>
            <ac:spMk id="21" creationId="{F2C5DFAD-6739-F420-797A-E55BC833E989}"/>
          </ac:spMkLst>
        </pc:spChg>
        <pc:spChg chg="mod">
          <ac:chgData name="Verena Schmidt" userId="ac0ef34742874e92" providerId="LiveId" clId="{FBD7DE8B-D9B0-4CD2-AC48-C748A74D1FC1}" dt="2025-04-06T08:56:11.460" v="594" actId="14100"/>
          <ac:spMkLst>
            <pc:docMk/>
            <pc:sldMk cId="3486053959" sldId="393"/>
            <ac:spMk id="22" creationId="{1EFFFB78-CD5A-EB0C-F017-2A4ABDBA4914}"/>
          </ac:spMkLst>
        </pc:spChg>
        <pc:spChg chg="mod">
          <ac:chgData name="Verena Schmidt" userId="ac0ef34742874e92" providerId="LiveId" clId="{FBD7DE8B-D9B0-4CD2-AC48-C748A74D1FC1}" dt="2025-04-06T08:56:06.117" v="593" actId="1037"/>
          <ac:spMkLst>
            <pc:docMk/>
            <pc:sldMk cId="3486053959" sldId="393"/>
            <ac:spMk id="23" creationId="{0201BE1D-D2E9-8004-FB1C-484953B208FD}"/>
          </ac:spMkLst>
        </pc:spChg>
        <pc:spChg chg="mod">
          <ac:chgData name="Verena Schmidt" userId="ac0ef34742874e92" providerId="LiveId" clId="{FBD7DE8B-D9B0-4CD2-AC48-C748A74D1FC1}" dt="2025-04-06T08:56:06.117" v="593" actId="1037"/>
          <ac:spMkLst>
            <pc:docMk/>
            <pc:sldMk cId="3486053959" sldId="393"/>
            <ac:spMk id="24" creationId="{CC6BFA0C-0F88-D024-4FBF-6852F9BD01B4}"/>
          </ac:spMkLst>
        </pc:spChg>
        <pc:grpChg chg="mod">
          <ac:chgData name="Verena Schmidt" userId="ac0ef34742874e92" providerId="LiveId" clId="{FBD7DE8B-D9B0-4CD2-AC48-C748A74D1FC1}" dt="2025-04-06T08:56:13.924" v="606" actId="1038"/>
          <ac:grpSpMkLst>
            <pc:docMk/>
            <pc:sldMk cId="3486053959" sldId="393"/>
            <ac:grpSpMk id="7" creationId="{99A1B02B-9FA4-64B7-EFB3-20CEBF735479}"/>
          </ac:grpSpMkLst>
        </pc:grpChg>
      </pc:sldChg>
      <pc:sldChg chg="addSp delSp modSp mod">
        <pc:chgData name="Verena Schmidt" userId="ac0ef34742874e92" providerId="LiveId" clId="{FBD7DE8B-D9B0-4CD2-AC48-C748A74D1FC1}" dt="2025-04-06T08:52:46.596" v="555" actId="20577"/>
        <pc:sldMkLst>
          <pc:docMk/>
          <pc:sldMk cId="4117974056" sldId="397"/>
        </pc:sldMkLst>
        <pc:spChg chg="mod">
          <ac:chgData name="Verena Schmidt" userId="ac0ef34742874e92" providerId="LiveId" clId="{FBD7DE8B-D9B0-4CD2-AC48-C748A74D1FC1}" dt="2025-04-06T08:52:46.596" v="555" actId="20577"/>
          <ac:spMkLst>
            <pc:docMk/>
            <pc:sldMk cId="4117974056" sldId="397"/>
            <ac:spMk id="3" creationId="{00000000-0000-0000-0000-000000000000}"/>
          </ac:spMkLst>
        </pc:spChg>
        <pc:spChg chg="add mod">
          <ac:chgData name="Verena Schmidt" userId="ac0ef34742874e92" providerId="LiveId" clId="{FBD7DE8B-D9B0-4CD2-AC48-C748A74D1FC1}" dt="2025-04-06T08:52:06.315" v="543" actId="164"/>
          <ac:spMkLst>
            <pc:docMk/>
            <pc:sldMk cId="4117974056" sldId="397"/>
            <ac:spMk id="21" creationId="{2E3605CC-6417-09B0-0383-C5690666E813}"/>
          </ac:spMkLst>
        </pc:spChg>
        <pc:grpChg chg="add mod">
          <ac:chgData name="Verena Schmidt" userId="ac0ef34742874e92" providerId="LiveId" clId="{FBD7DE8B-D9B0-4CD2-AC48-C748A74D1FC1}" dt="2025-04-06T08:52:27.216" v="549" actId="1076"/>
          <ac:grpSpMkLst>
            <pc:docMk/>
            <pc:sldMk cId="4117974056" sldId="397"/>
            <ac:grpSpMk id="22" creationId="{4DEC3984-C402-9A04-AEAF-62D03C8E29BD}"/>
          </ac:grpSpMkLst>
        </pc:grpChg>
        <pc:picChg chg="del">
          <ac:chgData name="Verena Schmidt" userId="ac0ef34742874e92" providerId="LiveId" clId="{FBD7DE8B-D9B0-4CD2-AC48-C748A74D1FC1}" dt="2025-04-06T08:28:28.539" v="341" actId="478"/>
          <ac:picMkLst>
            <pc:docMk/>
            <pc:sldMk cId="4117974056" sldId="397"/>
            <ac:picMk id="7" creationId="{CDBF7BF5-8F72-ABC2-643B-F3F5405DC522}"/>
          </ac:picMkLst>
        </pc:picChg>
        <pc:picChg chg="add mod">
          <ac:chgData name="Verena Schmidt" userId="ac0ef34742874e92" providerId="LiveId" clId="{FBD7DE8B-D9B0-4CD2-AC48-C748A74D1FC1}" dt="2025-04-06T08:52:24.297" v="548" actId="1076"/>
          <ac:picMkLst>
            <pc:docMk/>
            <pc:sldMk cId="4117974056" sldId="397"/>
            <ac:picMk id="9" creationId="{ADA74AFE-468E-67F1-7157-E302DDA25512}"/>
          </ac:picMkLst>
        </pc:picChg>
        <pc:picChg chg="del">
          <ac:chgData name="Verena Schmidt" userId="ac0ef34742874e92" providerId="LiveId" clId="{FBD7DE8B-D9B0-4CD2-AC48-C748A74D1FC1}" dt="2025-04-06T08:28:27.347" v="339" actId="478"/>
          <ac:picMkLst>
            <pc:docMk/>
            <pc:sldMk cId="4117974056" sldId="397"/>
            <ac:picMk id="10" creationId="{209F67CA-80E1-F92B-2C98-D04E46394F9D}"/>
          </ac:picMkLst>
        </pc:picChg>
        <pc:picChg chg="add mod">
          <ac:chgData name="Verena Schmidt" userId="ac0ef34742874e92" providerId="LiveId" clId="{FBD7DE8B-D9B0-4CD2-AC48-C748A74D1FC1}" dt="2025-04-06T08:52:18.992" v="546" actId="1076"/>
          <ac:picMkLst>
            <pc:docMk/>
            <pc:sldMk cId="4117974056" sldId="397"/>
            <ac:picMk id="12" creationId="{2E9BA21A-16FF-D516-58D9-6FD3B3B9D77D}"/>
          </ac:picMkLst>
        </pc:picChg>
        <pc:picChg chg="del">
          <ac:chgData name="Verena Schmidt" userId="ac0ef34742874e92" providerId="LiveId" clId="{FBD7DE8B-D9B0-4CD2-AC48-C748A74D1FC1}" dt="2025-04-06T08:28:27.934" v="340" actId="478"/>
          <ac:picMkLst>
            <pc:docMk/>
            <pc:sldMk cId="4117974056" sldId="397"/>
            <ac:picMk id="13" creationId="{1EB24424-19EB-E822-F10B-A7865EDB76C4}"/>
          </ac:picMkLst>
        </pc:picChg>
        <pc:picChg chg="add mod">
          <ac:chgData name="Verena Schmidt" userId="ac0ef34742874e92" providerId="LiveId" clId="{FBD7DE8B-D9B0-4CD2-AC48-C748A74D1FC1}" dt="2025-04-06T08:51:54.357" v="542" actId="1440"/>
          <ac:picMkLst>
            <pc:docMk/>
            <pc:sldMk cId="4117974056" sldId="397"/>
            <ac:picMk id="15" creationId="{3DC8B9FB-8F03-D7D3-9044-2C59D612329D}"/>
          </ac:picMkLst>
        </pc:picChg>
        <pc:picChg chg="add mod">
          <ac:chgData name="Verena Schmidt" userId="ac0ef34742874e92" providerId="LiveId" clId="{FBD7DE8B-D9B0-4CD2-AC48-C748A74D1FC1}" dt="2025-04-06T08:52:22.576" v="547" actId="1076"/>
          <ac:picMkLst>
            <pc:docMk/>
            <pc:sldMk cId="4117974056" sldId="397"/>
            <ac:picMk id="17" creationId="{F9447F53-F803-5BA5-F42A-4A008F957B96}"/>
          </ac:picMkLst>
        </pc:picChg>
        <pc:picChg chg="add del mod">
          <ac:chgData name="Verena Schmidt" userId="ac0ef34742874e92" providerId="LiveId" clId="{FBD7DE8B-D9B0-4CD2-AC48-C748A74D1FC1}" dt="2025-04-06T08:44:13.159" v="381" actId="21"/>
          <ac:picMkLst>
            <pc:docMk/>
            <pc:sldMk cId="4117974056" sldId="397"/>
            <ac:picMk id="19" creationId="{85E3E1AF-5FE3-5241-86BE-D0C173E95D68}"/>
          </ac:picMkLst>
        </pc:picChg>
        <pc:picChg chg="add mod">
          <ac:chgData name="Verena Schmidt" userId="ac0ef34742874e92" providerId="LiveId" clId="{FBD7DE8B-D9B0-4CD2-AC48-C748A74D1FC1}" dt="2025-04-06T08:52:10.753" v="544" actId="1440"/>
          <ac:picMkLst>
            <pc:docMk/>
            <pc:sldMk cId="4117974056" sldId="397"/>
            <ac:picMk id="20" creationId="{EEF9BB23-07A9-0DFF-F445-A4E3BB026E86}"/>
          </ac:picMkLst>
        </pc:picChg>
      </pc:sldChg>
      <pc:sldChg chg="addSp delSp modSp del mod">
        <pc:chgData name="Verena Schmidt" userId="ac0ef34742874e92" providerId="LiveId" clId="{FBD7DE8B-D9B0-4CD2-AC48-C748A74D1FC1}" dt="2025-04-06T08:49:52.811" v="436" actId="47"/>
        <pc:sldMkLst>
          <pc:docMk/>
          <pc:sldMk cId="4244382014" sldId="398"/>
        </pc:sldMkLst>
        <pc:spChg chg="add mod">
          <ac:chgData name="Verena Schmidt" userId="ac0ef34742874e92" providerId="LiveId" clId="{FBD7DE8B-D9B0-4CD2-AC48-C748A74D1FC1}" dt="2025-04-06T08:44:50.421" v="423" actId="113"/>
          <ac:spMkLst>
            <pc:docMk/>
            <pc:sldMk cId="4244382014" sldId="398"/>
            <ac:spMk id="2" creationId="{827A860D-9DBB-1665-375A-7D068350E29C}"/>
          </ac:spMkLst>
        </pc:spChg>
        <pc:spChg chg="mod">
          <ac:chgData name="Verena Schmidt" userId="ac0ef34742874e92" providerId="LiveId" clId="{FBD7DE8B-D9B0-4CD2-AC48-C748A74D1FC1}" dt="2025-04-06T08:44:28.390" v="398" actId="20577"/>
          <ac:spMkLst>
            <pc:docMk/>
            <pc:sldMk cId="4244382014" sldId="398"/>
            <ac:spMk id="3" creationId="{00000000-0000-0000-0000-000000000000}"/>
          </ac:spMkLst>
        </pc:spChg>
        <pc:picChg chg="del">
          <ac:chgData name="Verena Schmidt" userId="ac0ef34742874e92" providerId="LiveId" clId="{FBD7DE8B-D9B0-4CD2-AC48-C748A74D1FC1}" dt="2025-04-06T08:44:20.292" v="384" actId="478"/>
          <ac:picMkLst>
            <pc:docMk/>
            <pc:sldMk cId="4244382014" sldId="398"/>
            <ac:picMk id="9" creationId="{8071FCCA-4F9C-BDCE-A461-973E998E72F3}"/>
          </ac:picMkLst>
        </pc:picChg>
        <pc:picChg chg="add mod">
          <ac:chgData name="Verena Schmidt" userId="ac0ef34742874e92" providerId="LiveId" clId="{FBD7DE8B-D9B0-4CD2-AC48-C748A74D1FC1}" dt="2025-04-06T08:47:20.592" v="429" actId="1076"/>
          <ac:picMkLst>
            <pc:docMk/>
            <pc:sldMk cId="4244382014" sldId="398"/>
            <ac:picMk id="10" creationId="{7425DE1C-7A3F-E8C3-4C31-4CB0A4AD482B}"/>
          </ac:picMkLst>
        </pc:picChg>
        <pc:picChg chg="add mod">
          <ac:chgData name="Verena Schmidt" userId="ac0ef34742874e92" providerId="LiveId" clId="{FBD7DE8B-D9B0-4CD2-AC48-C748A74D1FC1}" dt="2025-04-06T08:44:18.826" v="383" actId="1076"/>
          <ac:picMkLst>
            <pc:docMk/>
            <pc:sldMk cId="4244382014" sldId="398"/>
            <ac:picMk id="19" creationId="{85E3E1AF-5FE3-5241-86BE-D0C173E95D68}"/>
          </ac:picMkLst>
        </pc:picChg>
      </pc:sldChg>
      <pc:sldChg chg="addSp delSp modSp add mod">
        <pc:chgData name="Verena Schmidt" userId="ac0ef34742874e92" providerId="LiveId" clId="{FBD7DE8B-D9B0-4CD2-AC48-C748A74D1FC1}" dt="2025-04-06T08:51:36.114" v="540" actId="1076"/>
        <pc:sldMkLst>
          <pc:docMk/>
          <pc:sldMk cId="2519467433" sldId="399"/>
        </pc:sldMkLst>
        <pc:spChg chg="add del">
          <ac:chgData name="Verena Schmidt" userId="ac0ef34742874e92" providerId="LiveId" clId="{FBD7DE8B-D9B0-4CD2-AC48-C748A74D1FC1}" dt="2025-04-06T08:51:08.381" v="531" actId="21"/>
          <ac:spMkLst>
            <pc:docMk/>
            <pc:sldMk cId="2519467433" sldId="399"/>
            <ac:spMk id="2" creationId="{2E3605CC-6417-09B0-0383-C5690666E813}"/>
          </ac:spMkLst>
        </pc:spChg>
        <pc:spChg chg="mod">
          <ac:chgData name="Verena Schmidt" userId="ac0ef34742874e92" providerId="LiveId" clId="{FBD7DE8B-D9B0-4CD2-AC48-C748A74D1FC1}" dt="2025-04-06T08:50:47.388" v="525" actId="20577"/>
          <ac:spMkLst>
            <pc:docMk/>
            <pc:sldMk cId="2519467433" sldId="399"/>
            <ac:spMk id="3" creationId="{16619ED5-131A-825D-B5BD-93FAB3653BE4}"/>
          </ac:spMkLst>
        </pc:spChg>
        <pc:picChg chg="add mod modCrop">
          <ac:chgData name="Verena Schmidt" userId="ac0ef34742874e92" providerId="LiveId" clId="{FBD7DE8B-D9B0-4CD2-AC48-C748A74D1FC1}" dt="2025-04-06T08:51:36.114" v="540" actId="1076"/>
          <ac:picMkLst>
            <pc:docMk/>
            <pc:sldMk cId="2519467433" sldId="399"/>
            <ac:picMk id="9" creationId="{C7C393C5-4FD9-34E1-D2DC-444408A6EF4D}"/>
          </ac:picMkLst>
        </pc:picChg>
        <pc:picChg chg="del">
          <ac:chgData name="Verena Schmidt" userId="ac0ef34742874e92" providerId="LiveId" clId="{FBD7DE8B-D9B0-4CD2-AC48-C748A74D1FC1}" dt="2025-04-06T08:49:34.232" v="431" actId="478"/>
          <ac:picMkLst>
            <pc:docMk/>
            <pc:sldMk cId="2519467433" sldId="399"/>
            <ac:picMk id="10" creationId="{ABFEDDA3-EDDB-10DD-17C9-93C47E828974}"/>
          </ac:picMkLst>
        </pc:picChg>
        <pc:picChg chg="add del">
          <ac:chgData name="Verena Schmidt" userId="ac0ef34742874e92" providerId="LiveId" clId="{FBD7DE8B-D9B0-4CD2-AC48-C748A74D1FC1}" dt="2025-04-06T08:51:08.381" v="531" actId="21"/>
          <ac:picMkLst>
            <pc:docMk/>
            <pc:sldMk cId="2519467433" sldId="399"/>
            <ac:picMk id="19" creationId="{EEF9BB23-07A9-0DFF-F445-A4E3BB026E86}"/>
          </ac:picMkLst>
        </pc:picChg>
      </pc:sldChg>
      <pc:sldChg chg="add del">
        <pc:chgData name="Verena Schmidt" userId="ac0ef34742874e92" providerId="LiveId" clId="{FBD7DE8B-D9B0-4CD2-AC48-C748A74D1FC1}" dt="2025-04-06T08:51:04.663" v="529"/>
        <pc:sldMkLst>
          <pc:docMk/>
          <pc:sldMk cId="3612107136" sldId="400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g"/><Relationship Id="rId1" Type="http://schemas.openxmlformats.org/officeDocument/2006/relationships/image" Target="../media/image34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6.jpg"/><Relationship Id="rId1" Type="http://schemas.openxmlformats.org/officeDocument/2006/relationships/image" Target="../media/image34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129A4D-2BAA-4A8D-9DD9-4B74ED81A567}" type="doc">
      <dgm:prSet loTypeId="urn:microsoft.com/office/officeart/2008/layout/HexagonCluster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13DB2E1-AAF8-4825-A5ED-0D880A3158E0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Frauen im Ingenieur-beruf</a:t>
          </a:r>
          <a:endParaRPr lang="en-GB" dirty="0">
            <a:solidFill>
              <a:schemeClr val="bg2"/>
            </a:solidFill>
          </a:endParaRPr>
        </a:p>
      </dgm:t>
    </dgm:pt>
    <dgm:pt modelId="{7ED8C9D8-FCE9-4B96-B047-2CA6FDDA5EAE}" type="parTrans" cxnId="{5D96E1E1-7271-48AF-8EC0-0F222C931E90}">
      <dgm:prSet/>
      <dgm:spPr/>
      <dgm:t>
        <a:bodyPr/>
        <a:lstStyle/>
        <a:p>
          <a:endParaRPr lang="en-GB"/>
        </a:p>
      </dgm:t>
    </dgm:pt>
    <dgm:pt modelId="{99094698-35D2-4C84-8026-7FC605D112F6}" type="sibTrans" cxnId="{5D96E1E1-7271-48AF-8EC0-0F222C931E90}">
      <dgm:prSet/>
      <dgm:spPr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</dgm:spPr>
      <dgm:t>
        <a:bodyPr/>
        <a:lstStyle/>
        <a:p>
          <a:endParaRPr lang="en-GB"/>
        </a:p>
      </dgm:t>
    </dgm:pt>
    <dgm:pt modelId="{C4CDBA1C-E5AC-4866-B05F-117CD1D628C8}">
      <dgm:prSet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Dr. Verena Schmidt</a:t>
          </a:r>
          <a:endParaRPr lang="en-GB" dirty="0">
            <a:solidFill>
              <a:schemeClr val="bg2"/>
            </a:solidFill>
          </a:endParaRPr>
        </a:p>
      </dgm:t>
    </dgm:pt>
    <dgm:pt modelId="{976D09E7-53E3-4BE9-90AE-D2D877E2A978}" type="parTrans" cxnId="{1BFB0860-E9F2-4F1C-BF9C-7547814970D9}">
      <dgm:prSet/>
      <dgm:spPr/>
      <dgm:t>
        <a:bodyPr/>
        <a:lstStyle/>
        <a:p>
          <a:endParaRPr lang="en-GB"/>
        </a:p>
      </dgm:t>
    </dgm:pt>
    <dgm:pt modelId="{416676A6-E263-4AF0-BBC5-030868E10C22}" type="sibTrans" cxnId="{1BFB0860-E9F2-4F1C-BF9C-7547814970D9}">
      <dgm:prSet/>
      <dgm:spPr>
        <a:blipFill rotWithShape="1">
          <a:blip xmlns:r="http://schemas.openxmlformats.org/officeDocument/2006/relationships" r:embed="rId2"/>
          <a:srcRect/>
          <a:stretch>
            <a:fillRect l="-7000" r="-7000"/>
          </a:stretch>
        </a:blipFill>
      </dgm:spPr>
      <dgm:t>
        <a:bodyPr/>
        <a:lstStyle/>
        <a:p>
          <a:endParaRPr lang="en-GB"/>
        </a:p>
      </dgm:t>
    </dgm:pt>
    <dgm:pt modelId="{2E6D0463-7EF6-4844-AB23-F76C0073B3BA}">
      <dgm:prSet/>
      <dgm:spPr/>
      <dgm:t>
        <a:bodyPr/>
        <a:lstStyle/>
        <a:p>
          <a:r>
            <a:rPr lang="en-GB" dirty="0">
              <a:solidFill>
                <a:schemeClr val="bg2"/>
              </a:solidFill>
            </a:rPr>
            <a:t>fib@bv-bno.vdi.de</a:t>
          </a:r>
        </a:p>
      </dgm:t>
    </dgm:pt>
    <dgm:pt modelId="{E2F4CC0A-66D9-4947-8287-87CC041CEA10}" type="sibTrans" cxnId="{6E66C6BF-00FE-46FE-9BDA-EC4824472232}">
      <dgm:prSet/>
      <dgm:spPr>
        <a:blipFill rotWithShape="1">
          <a:blip xmlns:r="http://schemas.openxmlformats.org/officeDocument/2006/relationships" r:embed="rId3"/>
          <a:srcRect/>
          <a:stretch>
            <a:fillRect l="-7000" r="-7000"/>
          </a:stretch>
        </a:blipFill>
      </dgm:spPr>
      <dgm:t>
        <a:bodyPr/>
        <a:lstStyle/>
        <a:p>
          <a:endParaRPr lang="en-GB"/>
        </a:p>
      </dgm:t>
    </dgm:pt>
    <dgm:pt modelId="{3F3C9A70-A143-4FDF-A5C8-D2A56D0360A1}" type="parTrans" cxnId="{6E66C6BF-00FE-46FE-9BDA-EC4824472232}">
      <dgm:prSet/>
      <dgm:spPr/>
      <dgm:t>
        <a:bodyPr/>
        <a:lstStyle/>
        <a:p>
          <a:endParaRPr lang="en-GB"/>
        </a:p>
      </dgm:t>
    </dgm:pt>
    <dgm:pt modelId="{0FAB5D84-10CB-4F70-BC3A-BC346F30F735}" type="pres">
      <dgm:prSet presAssocID="{04129A4D-2BAA-4A8D-9DD9-4B74ED81A567}" presName="Name0" presStyleCnt="0">
        <dgm:presLayoutVars>
          <dgm:chMax val="21"/>
          <dgm:chPref val="21"/>
        </dgm:presLayoutVars>
      </dgm:prSet>
      <dgm:spPr/>
    </dgm:pt>
    <dgm:pt modelId="{97715685-62A8-477E-B12F-509EB6432A15}" type="pres">
      <dgm:prSet presAssocID="{613DB2E1-AAF8-4825-A5ED-0D880A3158E0}" presName="text1" presStyleCnt="0"/>
      <dgm:spPr/>
    </dgm:pt>
    <dgm:pt modelId="{3EDCC142-5532-4351-AFF1-19FF9D248CC6}" type="pres">
      <dgm:prSet presAssocID="{613DB2E1-AAF8-4825-A5ED-0D880A3158E0}" presName="textRepeatNode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BDBC7B89-C686-471F-BA58-E34246619FAB}" type="pres">
      <dgm:prSet presAssocID="{613DB2E1-AAF8-4825-A5ED-0D880A3158E0}" presName="textaccent1" presStyleCnt="0"/>
      <dgm:spPr/>
    </dgm:pt>
    <dgm:pt modelId="{595CA297-97AA-4DD7-8154-87831E99C1A4}" type="pres">
      <dgm:prSet presAssocID="{613DB2E1-AAF8-4825-A5ED-0D880A3158E0}" presName="accentRepeatNode" presStyleLbl="solidAlignAcc1" presStyleIdx="0" presStyleCnt="6"/>
      <dgm:spPr/>
    </dgm:pt>
    <dgm:pt modelId="{A02EFCF9-59A1-4F3E-960E-90700D57CE08}" type="pres">
      <dgm:prSet presAssocID="{99094698-35D2-4C84-8026-7FC605D112F6}" presName="image1" presStyleCnt="0"/>
      <dgm:spPr/>
    </dgm:pt>
    <dgm:pt modelId="{29DEAD94-A03B-460C-8AEF-5266CFB01486}" type="pres">
      <dgm:prSet presAssocID="{99094698-35D2-4C84-8026-7FC605D112F6}" presName="imageRepeatNode" presStyleLbl="alignAcc1" presStyleIdx="0" presStyleCnt="3" custAng="10800000" custLinFactNeighborX="912" custLinFactNeighborY="990"/>
      <dgm:spPr/>
    </dgm:pt>
    <dgm:pt modelId="{DEA50B51-3D8B-433D-8E66-642D95FB499E}" type="pres">
      <dgm:prSet presAssocID="{99094698-35D2-4C84-8026-7FC605D112F6}" presName="imageaccent1" presStyleCnt="0"/>
      <dgm:spPr/>
    </dgm:pt>
    <dgm:pt modelId="{369F03D4-B861-48EB-A178-26BC6000BE43}" type="pres">
      <dgm:prSet presAssocID="{99094698-35D2-4C84-8026-7FC605D112F6}" presName="accentRepeatNode" presStyleLbl="solidAlignAcc1" presStyleIdx="1" presStyleCnt="6"/>
      <dgm:spPr/>
    </dgm:pt>
    <dgm:pt modelId="{3E7045A9-4688-487D-89F6-4A7AC6FBC3E0}" type="pres">
      <dgm:prSet presAssocID="{2E6D0463-7EF6-4844-AB23-F76C0073B3BA}" presName="text2" presStyleCnt="0"/>
      <dgm:spPr/>
    </dgm:pt>
    <dgm:pt modelId="{5D930FD3-964A-4BFB-8CAE-DEFE70F6D108}" type="pres">
      <dgm:prSet presAssocID="{2E6D0463-7EF6-4844-AB23-F76C0073B3BA}" presName="textRepeatNode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EB29278A-22E8-41DE-8C9F-17E608072E98}" type="pres">
      <dgm:prSet presAssocID="{2E6D0463-7EF6-4844-AB23-F76C0073B3BA}" presName="textaccent2" presStyleCnt="0"/>
      <dgm:spPr/>
    </dgm:pt>
    <dgm:pt modelId="{69FEC368-29BA-4198-B6CA-A825D7D69C9E}" type="pres">
      <dgm:prSet presAssocID="{2E6D0463-7EF6-4844-AB23-F76C0073B3BA}" presName="accentRepeatNode" presStyleLbl="solidAlignAcc1" presStyleIdx="2" presStyleCnt="6"/>
      <dgm:spPr/>
    </dgm:pt>
    <dgm:pt modelId="{43672461-82B2-452E-9D91-F1B574586551}" type="pres">
      <dgm:prSet presAssocID="{E2F4CC0A-66D9-4947-8287-87CC041CEA10}" presName="image2" presStyleCnt="0"/>
      <dgm:spPr/>
    </dgm:pt>
    <dgm:pt modelId="{89818770-BF90-4A0A-8CF5-F179D09B3C74}" type="pres">
      <dgm:prSet presAssocID="{E2F4CC0A-66D9-4947-8287-87CC041CEA10}" presName="imageRepeatNode" presStyleLbl="alignAcc1" presStyleIdx="1" presStyleCnt="3" custAng="10800000"/>
      <dgm:spPr/>
    </dgm:pt>
    <dgm:pt modelId="{7D9F057F-FA8B-42D3-8EC6-4ADAACF9A019}" type="pres">
      <dgm:prSet presAssocID="{E2F4CC0A-66D9-4947-8287-87CC041CEA10}" presName="imageaccent2" presStyleCnt="0"/>
      <dgm:spPr/>
    </dgm:pt>
    <dgm:pt modelId="{D1C44383-2B3C-4F47-A039-D67887166403}" type="pres">
      <dgm:prSet presAssocID="{E2F4CC0A-66D9-4947-8287-87CC041CEA10}" presName="accentRepeatNode" presStyleLbl="solidAlignAcc1" presStyleIdx="3" presStyleCnt="6"/>
      <dgm:spPr/>
    </dgm:pt>
    <dgm:pt modelId="{B9931A69-E824-4389-B86A-B02863352BEB}" type="pres">
      <dgm:prSet presAssocID="{C4CDBA1C-E5AC-4866-B05F-117CD1D628C8}" presName="text3" presStyleCnt="0"/>
      <dgm:spPr/>
    </dgm:pt>
    <dgm:pt modelId="{C4668EDA-E4B2-4B34-B4CC-EBC5D6D7A0CC}" type="pres">
      <dgm:prSet presAssocID="{C4CDBA1C-E5AC-4866-B05F-117CD1D628C8}" presName="textRepeatNode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758BA694-EE80-4293-937B-E42C143F03CF}" type="pres">
      <dgm:prSet presAssocID="{C4CDBA1C-E5AC-4866-B05F-117CD1D628C8}" presName="textaccent3" presStyleCnt="0"/>
      <dgm:spPr/>
    </dgm:pt>
    <dgm:pt modelId="{6C8447AA-D981-4E4D-9020-774B3D98A243}" type="pres">
      <dgm:prSet presAssocID="{C4CDBA1C-E5AC-4866-B05F-117CD1D628C8}" presName="accentRepeatNode" presStyleLbl="solidAlignAcc1" presStyleIdx="4" presStyleCnt="6"/>
      <dgm:spPr/>
    </dgm:pt>
    <dgm:pt modelId="{43322D92-6A4F-4C89-870F-63721BBD9A0C}" type="pres">
      <dgm:prSet presAssocID="{416676A6-E263-4AF0-BBC5-030868E10C22}" presName="image3" presStyleCnt="0"/>
      <dgm:spPr/>
    </dgm:pt>
    <dgm:pt modelId="{1E3D6579-2C3B-4C06-95E9-7D203764289F}" type="pres">
      <dgm:prSet presAssocID="{416676A6-E263-4AF0-BBC5-030868E10C22}" presName="imageRepeatNode" presStyleLbl="alignAcc1" presStyleIdx="2" presStyleCnt="3" custAng="10800000"/>
      <dgm:spPr/>
    </dgm:pt>
    <dgm:pt modelId="{70C1A23C-271A-4A02-BE03-09B7D35DE222}" type="pres">
      <dgm:prSet presAssocID="{416676A6-E263-4AF0-BBC5-030868E10C22}" presName="imageaccent3" presStyleCnt="0"/>
      <dgm:spPr/>
    </dgm:pt>
    <dgm:pt modelId="{A5B31B13-C6B1-428A-A0D5-9EB5CC6126C7}" type="pres">
      <dgm:prSet presAssocID="{416676A6-E263-4AF0-BBC5-030868E10C22}" presName="accentRepeatNode" presStyleLbl="solidAlignAcc1" presStyleIdx="5" presStyleCnt="6"/>
      <dgm:spPr/>
    </dgm:pt>
  </dgm:ptLst>
  <dgm:cxnLst>
    <dgm:cxn modelId="{9D09A213-62E7-493E-AC1B-C0DE8B606DFD}" type="presOf" srcId="{E2F4CC0A-66D9-4947-8287-87CC041CEA10}" destId="{89818770-BF90-4A0A-8CF5-F179D09B3C74}" srcOrd="0" destOrd="0" presId="urn:microsoft.com/office/officeart/2008/layout/HexagonCluster"/>
    <dgm:cxn modelId="{1BFB0860-E9F2-4F1C-BF9C-7547814970D9}" srcId="{04129A4D-2BAA-4A8D-9DD9-4B74ED81A567}" destId="{C4CDBA1C-E5AC-4866-B05F-117CD1D628C8}" srcOrd="2" destOrd="0" parTransId="{976D09E7-53E3-4BE9-90AE-D2D877E2A978}" sibTransId="{416676A6-E263-4AF0-BBC5-030868E10C22}"/>
    <dgm:cxn modelId="{C4865244-9EA3-4BE0-85E2-18CE41432ED7}" type="presOf" srcId="{C4CDBA1C-E5AC-4866-B05F-117CD1D628C8}" destId="{C4668EDA-E4B2-4B34-B4CC-EBC5D6D7A0CC}" srcOrd="0" destOrd="0" presId="urn:microsoft.com/office/officeart/2008/layout/HexagonCluster"/>
    <dgm:cxn modelId="{82A902A2-1710-466E-8395-F57E0A549AA3}" type="presOf" srcId="{99094698-35D2-4C84-8026-7FC605D112F6}" destId="{29DEAD94-A03B-460C-8AEF-5266CFB01486}" srcOrd="0" destOrd="0" presId="urn:microsoft.com/office/officeart/2008/layout/HexagonCluster"/>
    <dgm:cxn modelId="{6BD35BBB-E09C-40B9-9070-82ED94AE1F17}" type="presOf" srcId="{613DB2E1-AAF8-4825-A5ED-0D880A3158E0}" destId="{3EDCC142-5532-4351-AFF1-19FF9D248CC6}" srcOrd="0" destOrd="0" presId="urn:microsoft.com/office/officeart/2008/layout/HexagonCluster"/>
    <dgm:cxn modelId="{6E66C6BF-00FE-46FE-9BDA-EC4824472232}" srcId="{04129A4D-2BAA-4A8D-9DD9-4B74ED81A567}" destId="{2E6D0463-7EF6-4844-AB23-F76C0073B3BA}" srcOrd="1" destOrd="0" parTransId="{3F3C9A70-A143-4FDF-A5C8-D2A56D0360A1}" sibTransId="{E2F4CC0A-66D9-4947-8287-87CC041CEA10}"/>
    <dgm:cxn modelId="{784CF1C5-B917-4554-9C92-FDFA669785A2}" type="presOf" srcId="{416676A6-E263-4AF0-BBC5-030868E10C22}" destId="{1E3D6579-2C3B-4C06-95E9-7D203764289F}" srcOrd="0" destOrd="0" presId="urn:microsoft.com/office/officeart/2008/layout/HexagonCluster"/>
    <dgm:cxn modelId="{707E26D6-6EDE-4DEA-8C81-494A3BCC12C8}" type="presOf" srcId="{2E6D0463-7EF6-4844-AB23-F76C0073B3BA}" destId="{5D930FD3-964A-4BFB-8CAE-DEFE70F6D108}" srcOrd="0" destOrd="0" presId="urn:microsoft.com/office/officeart/2008/layout/HexagonCluster"/>
    <dgm:cxn modelId="{5D96E1E1-7271-48AF-8EC0-0F222C931E90}" srcId="{04129A4D-2BAA-4A8D-9DD9-4B74ED81A567}" destId="{613DB2E1-AAF8-4825-A5ED-0D880A3158E0}" srcOrd="0" destOrd="0" parTransId="{7ED8C9D8-FCE9-4B96-B047-2CA6FDDA5EAE}" sibTransId="{99094698-35D2-4C84-8026-7FC605D112F6}"/>
    <dgm:cxn modelId="{E7C799FE-7704-4D86-A3F7-FCA0449BAA14}" type="presOf" srcId="{04129A4D-2BAA-4A8D-9DD9-4B74ED81A567}" destId="{0FAB5D84-10CB-4F70-BC3A-BC346F30F735}" srcOrd="0" destOrd="0" presId="urn:microsoft.com/office/officeart/2008/layout/HexagonCluster"/>
    <dgm:cxn modelId="{E2B6943A-2E1B-4EA6-8B1B-77CDD74D061F}" type="presParOf" srcId="{0FAB5D84-10CB-4F70-BC3A-BC346F30F735}" destId="{97715685-62A8-477E-B12F-509EB6432A15}" srcOrd="0" destOrd="0" presId="urn:microsoft.com/office/officeart/2008/layout/HexagonCluster"/>
    <dgm:cxn modelId="{BA94E726-B11E-41C7-8CCD-5D7E5AD94F23}" type="presParOf" srcId="{97715685-62A8-477E-B12F-509EB6432A15}" destId="{3EDCC142-5532-4351-AFF1-19FF9D248CC6}" srcOrd="0" destOrd="0" presId="urn:microsoft.com/office/officeart/2008/layout/HexagonCluster"/>
    <dgm:cxn modelId="{88A51792-D82F-49B8-AA03-AB10D3293394}" type="presParOf" srcId="{0FAB5D84-10CB-4F70-BC3A-BC346F30F735}" destId="{BDBC7B89-C686-471F-BA58-E34246619FAB}" srcOrd="1" destOrd="0" presId="urn:microsoft.com/office/officeart/2008/layout/HexagonCluster"/>
    <dgm:cxn modelId="{4731AA2C-B2C6-4A1B-AF73-F2081B113EB3}" type="presParOf" srcId="{BDBC7B89-C686-471F-BA58-E34246619FAB}" destId="{595CA297-97AA-4DD7-8154-87831E99C1A4}" srcOrd="0" destOrd="0" presId="urn:microsoft.com/office/officeart/2008/layout/HexagonCluster"/>
    <dgm:cxn modelId="{C5349BBF-B93C-4D3C-A7EF-CBFD865D9ADB}" type="presParOf" srcId="{0FAB5D84-10CB-4F70-BC3A-BC346F30F735}" destId="{A02EFCF9-59A1-4F3E-960E-90700D57CE08}" srcOrd="2" destOrd="0" presId="urn:microsoft.com/office/officeart/2008/layout/HexagonCluster"/>
    <dgm:cxn modelId="{8F0F0684-C84B-4EF5-AD82-D95DAD064422}" type="presParOf" srcId="{A02EFCF9-59A1-4F3E-960E-90700D57CE08}" destId="{29DEAD94-A03B-460C-8AEF-5266CFB01486}" srcOrd="0" destOrd="0" presId="urn:microsoft.com/office/officeart/2008/layout/HexagonCluster"/>
    <dgm:cxn modelId="{B2CE85CE-720E-4049-95DE-C3F29D7480DE}" type="presParOf" srcId="{0FAB5D84-10CB-4F70-BC3A-BC346F30F735}" destId="{DEA50B51-3D8B-433D-8E66-642D95FB499E}" srcOrd="3" destOrd="0" presId="urn:microsoft.com/office/officeart/2008/layout/HexagonCluster"/>
    <dgm:cxn modelId="{9B9F5BCC-3867-4F49-9A50-34C0A3D5C7BA}" type="presParOf" srcId="{DEA50B51-3D8B-433D-8E66-642D95FB499E}" destId="{369F03D4-B861-48EB-A178-26BC6000BE43}" srcOrd="0" destOrd="0" presId="urn:microsoft.com/office/officeart/2008/layout/HexagonCluster"/>
    <dgm:cxn modelId="{51F26735-5F3C-493B-9F1D-22527504BAE3}" type="presParOf" srcId="{0FAB5D84-10CB-4F70-BC3A-BC346F30F735}" destId="{3E7045A9-4688-487D-89F6-4A7AC6FBC3E0}" srcOrd="4" destOrd="0" presId="urn:microsoft.com/office/officeart/2008/layout/HexagonCluster"/>
    <dgm:cxn modelId="{A035E7A2-1D91-4317-BE0C-639EF48D3CB0}" type="presParOf" srcId="{3E7045A9-4688-487D-89F6-4A7AC6FBC3E0}" destId="{5D930FD3-964A-4BFB-8CAE-DEFE70F6D108}" srcOrd="0" destOrd="0" presId="urn:microsoft.com/office/officeart/2008/layout/HexagonCluster"/>
    <dgm:cxn modelId="{8A4A6887-0538-4C13-B035-657B23FA0D73}" type="presParOf" srcId="{0FAB5D84-10CB-4F70-BC3A-BC346F30F735}" destId="{EB29278A-22E8-41DE-8C9F-17E608072E98}" srcOrd="5" destOrd="0" presId="urn:microsoft.com/office/officeart/2008/layout/HexagonCluster"/>
    <dgm:cxn modelId="{A077EF02-D903-4A93-9AF1-006E1729DEF9}" type="presParOf" srcId="{EB29278A-22E8-41DE-8C9F-17E608072E98}" destId="{69FEC368-29BA-4198-B6CA-A825D7D69C9E}" srcOrd="0" destOrd="0" presId="urn:microsoft.com/office/officeart/2008/layout/HexagonCluster"/>
    <dgm:cxn modelId="{802F3CE3-433E-4C60-9726-763992D23FD3}" type="presParOf" srcId="{0FAB5D84-10CB-4F70-BC3A-BC346F30F735}" destId="{43672461-82B2-452E-9D91-F1B574586551}" srcOrd="6" destOrd="0" presId="urn:microsoft.com/office/officeart/2008/layout/HexagonCluster"/>
    <dgm:cxn modelId="{A028C4E3-374A-4678-A295-947CC33554CC}" type="presParOf" srcId="{43672461-82B2-452E-9D91-F1B574586551}" destId="{89818770-BF90-4A0A-8CF5-F179D09B3C74}" srcOrd="0" destOrd="0" presId="urn:microsoft.com/office/officeart/2008/layout/HexagonCluster"/>
    <dgm:cxn modelId="{445DD763-E706-4DDA-AA7F-1D9043EE311E}" type="presParOf" srcId="{0FAB5D84-10CB-4F70-BC3A-BC346F30F735}" destId="{7D9F057F-FA8B-42D3-8EC6-4ADAACF9A019}" srcOrd="7" destOrd="0" presId="urn:microsoft.com/office/officeart/2008/layout/HexagonCluster"/>
    <dgm:cxn modelId="{145A859D-8A46-4037-950B-EC8C45B5B16A}" type="presParOf" srcId="{7D9F057F-FA8B-42D3-8EC6-4ADAACF9A019}" destId="{D1C44383-2B3C-4F47-A039-D67887166403}" srcOrd="0" destOrd="0" presId="urn:microsoft.com/office/officeart/2008/layout/HexagonCluster"/>
    <dgm:cxn modelId="{93AF197E-A230-40FF-9737-293958D639F4}" type="presParOf" srcId="{0FAB5D84-10CB-4F70-BC3A-BC346F30F735}" destId="{B9931A69-E824-4389-B86A-B02863352BEB}" srcOrd="8" destOrd="0" presId="urn:microsoft.com/office/officeart/2008/layout/HexagonCluster"/>
    <dgm:cxn modelId="{F39455CC-8A44-45E3-9DB0-3CF3F1B02CCD}" type="presParOf" srcId="{B9931A69-E824-4389-B86A-B02863352BEB}" destId="{C4668EDA-E4B2-4B34-B4CC-EBC5D6D7A0CC}" srcOrd="0" destOrd="0" presId="urn:microsoft.com/office/officeart/2008/layout/HexagonCluster"/>
    <dgm:cxn modelId="{3E0D792F-0A4C-4675-808F-90B33C329DF4}" type="presParOf" srcId="{0FAB5D84-10CB-4F70-BC3A-BC346F30F735}" destId="{758BA694-EE80-4293-937B-E42C143F03CF}" srcOrd="9" destOrd="0" presId="urn:microsoft.com/office/officeart/2008/layout/HexagonCluster"/>
    <dgm:cxn modelId="{20925309-17DE-4AA0-BD6A-21327038E71B}" type="presParOf" srcId="{758BA694-EE80-4293-937B-E42C143F03CF}" destId="{6C8447AA-D981-4E4D-9020-774B3D98A243}" srcOrd="0" destOrd="0" presId="urn:microsoft.com/office/officeart/2008/layout/HexagonCluster"/>
    <dgm:cxn modelId="{3478D7DE-67A6-4AEA-833F-1A4B5571A2D8}" type="presParOf" srcId="{0FAB5D84-10CB-4F70-BC3A-BC346F30F735}" destId="{43322D92-6A4F-4C89-870F-63721BBD9A0C}" srcOrd="10" destOrd="0" presId="urn:microsoft.com/office/officeart/2008/layout/HexagonCluster"/>
    <dgm:cxn modelId="{D90618F5-9418-46F3-8B34-A07EA7276E99}" type="presParOf" srcId="{43322D92-6A4F-4C89-870F-63721BBD9A0C}" destId="{1E3D6579-2C3B-4C06-95E9-7D203764289F}" srcOrd="0" destOrd="0" presId="urn:microsoft.com/office/officeart/2008/layout/HexagonCluster"/>
    <dgm:cxn modelId="{8C29B016-1D4A-45F6-B53D-860DE10D9F04}" type="presParOf" srcId="{0FAB5D84-10CB-4F70-BC3A-BC346F30F735}" destId="{70C1A23C-271A-4A02-BE03-09B7D35DE222}" srcOrd="11" destOrd="0" presId="urn:microsoft.com/office/officeart/2008/layout/HexagonCluster"/>
    <dgm:cxn modelId="{18B73F9C-B087-4A13-A397-C9D9D0B22194}" type="presParOf" srcId="{70C1A23C-271A-4A02-BE03-09B7D35DE222}" destId="{A5B31B13-C6B1-428A-A0D5-9EB5CC6126C7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DCC142-5532-4351-AFF1-19FF9D248CC6}">
      <dsp:nvSpPr>
        <dsp:cNvPr id="0" name=""/>
        <dsp:cNvSpPr/>
      </dsp:nvSpPr>
      <dsp:spPr>
        <a:xfrm>
          <a:off x="1464259" y="2506085"/>
          <a:ext cx="1712976" cy="147688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bg2"/>
              </a:solidFill>
            </a:rPr>
            <a:t>Frauen im Ingenieur-beruf</a:t>
          </a:r>
          <a:endParaRPr lang="en-GB" sz="2000" kern="1200" dirty="0">
            <a:solidFill>
              <a:schemeClr val="bg2"/>
            </a:solidFill>
          </a:endParaRPr>
        </a:p>
      </dsp:txBody>
      <dsp:txXfrm>
        <a:off x="1730081" y="2735270"/>
        <a:ext cx="1181332" cy="1018514"/>
      </dsp:txXfrm>
    </dsp:sp>
    <dsp:sp modelId="{595CA297-97AA-4DD7-8154-87831E99C1A4}">
      <dsp:nvSpPr>
        <dsp:cNvPr id="0" name=""/>
        <dsp:cNvSpPr/>
      </dsp:nvSpPr>
      <dsp:spPr>
        <a:xfrm>
          <a:off x="1508759" y="3158099"/>
          <a:ext cx="200558" cy="17285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DEAD94-A03B-460C-8AEF-5266CFB01486}">
      <dsp:nvSpPr>
        <dsp:cNvPr id="0" name=""/>
        <dsp:cNvSpPr/>
      </dsp:nvSpPr>
      <dsp:spPr>
        <a:xfrm rot="10800000">
          <a:off x="15622" y="1727442"/>
          <a:ext cx="1712976" cy="1476884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9F03D4-B861-48EB-A178-26BC6000BE43}">
      <dsp:nvSpPr>
        <dsp:cNvPr id="0" name=""/>
        <dsp:cNvSpPr/>
      </dsp:nvSpPr>
      <dsp:spPr>
        <a:xfrm>
          <a:off x="1166164" y="2994608"/>
          <a:ext cx="200558" cy="17285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930FD3-964A-4BFB-8CAE-DEFE70F6D108}">
      <dsp:nvSpPr>
        <dsp:cNvPr id="0" name=""/>
        <dsp:cNvSpPr/>
      </dsp:nvSpPr>
      <dsp:spPr>
        <a:xfrm>
          <a:off x="2923641" y="1695262"/>
          <a:ext cx="1712976" cy="147688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bg2"/>
              </a:solidFill>
            </a:rPr>
            <a:t>fib@bv-bno.vdi.de</a:t>
          </a:r>
        </a:p>
      </dsp:txBody>
      <dsp:txXfrm>
        <a:off x="3189463" y="1924447"/>
        <a:ext cx="1181332" cy="1018514"/>
      </dsp:txXfrm>
    </dsp:sp>
    <dsp:sp modelId="{69FEC368-29BA-4198-B6CA-A825D7D69C9E}">
      <dsp:nvSpPr>
        <dsp:cNvPr id="0" name=""/>
        <dsp:cNvSpPr/>
      </dsp:nvSpPr>
      <dsp:spPr>
        <a:xfrm>
          <a:off x="4094683" y="2975488"/>
          <a:ext cx="200558" cy="17285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818770-BF90-4A0A-8CF5-F179D09B3C74}">
      <dsp:nvSpPr>
        <dsp:cNvPr id="0" name=""/>
        <dsp:cNvSpPr/>
      </dsp:nvSpPr>
      <dsp:spPr>
        <a:xfrm rot="10800000">
          <a:off x="4383024" y="2506085"/>
          <a:ext cx="1712976" cy="1476884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2"/>
          <a:srcRect/>
          <a:stretch>
            <a:fillRect l="-7000" r="-7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C44383-2B3C-4F47-A039-D67887166403}">
      <dsp:nvSpPr>
        <dsp:cNvPr id="0" name=""/>
        <dsp:cNvSpPr/>
      </dsp:nvSpPr>
      <dsp:spPr>
        <a:xfrm>
          <a:off x="4427524" y="3158099"/>
          <a:ext cx="200558" cy="17285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668EDA-E4B2-4B34-B4CC-EBC5D6D7A0CC}">
      <dsp:nvSpPr>
        <dsp:cNvPr id="0" name=""/>
        <dsp:cNvSpPr/>
      </dsp:nvSpPr>
      <dsp:spPr>
        <a:xfrm>
          <a:off x="1464259" y="887951"/>
          <a:ext cx="1712976" cy="147688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bg2"/>
              </a:solidFill>
            </a:rPr>
            <a:t>Dr. Verena Schmidt</a:t>
          </a:r>
          <a:endParaRPr lang="en-GB" sz="2000" kern="1200" dirty="0">
            <a:solidFill>
              <a:schemeClr val="bg2"/>
            </a:solidFill>
          </a:endParaRPr>
        </a:p>
      </dsp:txBody>
      <dsp:txXfrm>
        <a:off x="1730081" y="1117136"/>
        <a:ext cx="1181332" cy="1018514"/>
      </dsp:txXfrm>
    </dsp:sp>
    <dsp:sp modelId="{6C8447AA-D981-4E4D-9020-774B3D98A243}">
      <dsp:nvSpPr>
        <dsp:cNvPr id="0" name=""/>
        <dsp:cNvSpPr/>
      </dsp:nvSpPr>
      <dsp:spPr>
        <a:xfrm>
          <a:off x="2625547" y="919947"/>
          <a:ext cx="200558" cy="17285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3D6579-2C3B-4C06-95E9-7D203764289F}">
      <dsp:nvSpPr>
        <dsp:cNvPr id="0" name=""/>
        <dsp:cNvSpPr/>
      </dsp:nvSpPr>
      <dsp:spPr>
        <a:xfrm rot="10800000">
          <a:off x="2923641" y="81030"/>
          <a:ext cx="1712976" cy="1476884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3"/>
          <a:srcRect/>
          <a:stretch>
            <a:fillRect l="-7000" r="-7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B31B13-C6B1-428A-A0D5-9EB5CC6126C7}">
      <dsp:nvSpPr>
        <dsp:cNvPr id="0" name=""/>
        <dsp:cNvSpPr/>
      </dsp:nvSpPr>
      <dsp:spPr>
        <a:xfrm>
          <a:off x="2974238" y="729532"/>
          <a:ext cx="200558" cy="17285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1F691A1-F80F-72AF-7F7F-B8BCA957F1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DDCE9D1-1CB3-5F4A-94DC-5698FDBE170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ABE571-1EDF-8342-9F14-4402CD4CFA62}" type="datetimeFigureOut">
              <a:rPr lang="de-DE" smtClean="0"/>
              <a:t>06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D7566E-B0A9-E59C-71FC-91D87FB96C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17F0054-B64A-3ED1-D9D6-7FB4E2A9E1A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82C521-C17C-D441-AD5A-95C1BB127A6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1188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88DE6F-40CE-A144-A1DE-C443BDD34155}" type="datetimeFigureOut">
              <a:rPr lang="de-DE" smtClean="0"/>
              <a:t>06.04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0CB916-5580-6949-9F1C-5D10CE9A02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78871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63200" rtl="0" eaLnBrk="1" latinLnBrk="0" hangingPunct="1">
      <a:defRPr sz="870" kern="1200">
        <a:solidFill>
          <a:schemeClr val="tx1"/>
        </a:solidFill>
        <a:latin typeface="+mn-lt"/>
        <a:ea typeface="+mn-ea"/>
        <a:cs typeface="+mn-cs"/>
      </a:defRPr>
    </a:lvl1pPr>
    <a:lvl2pPr marL="331600" algn="l" defTabSz="663200" rtl="0" eaLnBrk="1" latinLnBrk="0" hangingPunct="1">
      <a:defRPr sz="870" kern="1200">
        <a:solidFill>
          <a:schemeClr val="tx1"/>
        </a:solidFill>
        <a:latin typeface="+mn-lt"/>
        <a:ea typeface="+mn-ea"/>
        <a:cs typeface="+mn-cs"/>
      </a:defRPr>
    </a:lvl2pPr>
    <a:lvl3pPr marL="663200" algn="l" defTabSz="663200" rtl="0" eaLnBrk="1" latinLnBrk="0" hangingPunct="1">
      <a:defRPr sz="870" kern="1200">
        <a:solidFill>
          <a:schemeClr val="tx1"/>
        </a:solidFill>
        <a:latin typeface="+mn-lt"/>
        <a:ea typeface="+mn-ea"/>
        <a:cs typeface="+mn-cs"/>
      </a:defRPr>
    </a:lvl3pPr>
    <a:lvl4pPr marL="994799" algn="l" defTabSz="663200" rtl="0" eaLnBrk="1" latinLnBrk="0" hangingPunct="1">
      <a:defRPr sz="870" kern="1200">
        <a:solidFill>
          <a:schemeClr val="tx1"/>
        </a:solidFill>
        <a:latin typeface="+mn-lt"/>
        <a:ea typeface="+mn-ea"/>
        <a:cs typeface="+mn-cs"/>
      </a:defRPr>
    </a:lvl4pPr>
    <a:lvl5pPr marL="1326399" algn="l" defTabSz="663200" rtl="0" eaLnBrk="1" latinLnBrk="0" hangingPunct="1">
      <a:defRPr sz="870" kern="1200">
        <a:solidFill>
          <a:schemeClr val="tx1"/>
        </a:solidFill>
        <a:latin typeface="+mn-lt"/>
        <a:ea typeface="+mn-ea"/>
        <a:cs typeface="+mn-cs"/>
      </a:defRPr>
    </a:lvl5pPr>
    <a:lvl6pPr marL="1657999" algn="l" defTabSz="663200" rtl="0" eaLnBrk="1" latinLnBrk="0" hangingPunct="1">
      <a:defRPr sz="870" kern="1200">
        <a:solidFill>
          <a:schemeClr val="tx1"/>
        </a:solidFill>
        <a:latin typeface="+mn-lt"/>
        <a:ea typeface="+mn-ea"/>
        <a:cs typeface="+mn-cs"/>
      </a:defRPr>
    </a:lvl6pPr>
    <a:lvl7pPr marL="1989598" algn="l" defTabSz="663200" rtl="0" eaLnBrk="1" latinLnBrk="0" hangingPunct="1">
      <a:defRPr sz="870" kern="1200">
        <a:solidFill>
          <a:schemeClr val="tx1"/>
        </a:solidFill>
        <a:latin typeface="+mn-lt"/>
        <a:ea typeface="+mn-ea"/>
        <a:cs typeface="+mn-cs"/>
      </a:defRPr>
    </a:lvl7pPr>
    <a:lvl8pPr marL="2321198" algn="l" defTabSz="663200" rtl="0" eaLnBrk="1" latinLnBrk="0" hangingPunct="1">
      <a:defRPr sz="870" kern="1200">
        <a:solidFill>
          <a:schemeClr val="tx1"/>
        </a:solidFill>
        <a:latin typeface="+mn-lt"/>
        <a:ea typeface="+mn-ea"/>
        <a:cs typeface="+mn-cs"/>
      </a:defRPr>
    </a:lvl8pPr>
    <a:lvl9pPr marL="2652797" algn="l" defTabSz="663200" rtl="0" eaLnBrk="1" latinLnBrk="0" hangingPunct="1">
      <a:defRPr sz="8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0CB916-5580-6949-9F1C-5D10CE9A02A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32882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0CB916-5580-6949-9F1C-5D10CE9A02A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7421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0CB916-5580-6949-9F1C-5D10CE9A02A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4539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7127C5-AA89-2ED6-2FAD-78AFCD537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1371022-0388-29CC-C904-23C98BD32B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EB62C69-627B-F632-9610-DF3447B664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FBE7ED-40EA-4A71-1899-BC8CF572BE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0CB916-5580-6949-9F1C-5D10CE9A02A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96790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0CB916-5580-6949-9F1C-5D10CE9A02A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3250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VereinDeutscherIngenieure/" TargetMode="External"/><Relationship Id="rId13" Type="http://schemas.openxmlformats.org/officeDocument/2006/relationships/image" Target="../media/image11.svg"/><Relationship Id="rId1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7.svg"/><Relationship Id="rId12" Type="http://schemas.openxmlformats.org/officeDocument/2006/relationships/image" Target="../media/image10.png"/><Relationship Id="rId17" Type="http://schemas.openxmlformats.org/officeDocument/2006/relationships/hyperlink" Target="https://www.linkedin.com/company/vdi-verein-deutscher-ingenieure-e-v-/" TargetMode="External"/><Relationship Id="rId2" Type="http://schemas.openxmlformats.org/officeDocument/2006/relationships/hyperlink" Target="https://www.youtube.com/user/MeinVDI" TargetMode="External"/><Relationship Id="rId16" Type="http://schemas.openxmlformats.org/officeDocument/2006/relationships/image" Target="../media/image13.svg"/><Relationship Id="rId20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hyperlink" Target="https://www.instagram.com/vdi_technikhelden/" TargetMode="External"/><Relationship Id="rId5" Type="http://schemas.openxmlformats.org/officeDocument/2006/relationships/hyperlink" Target="https://blog.vdi.de/" TargetMode="External"/><Relationship Id="rId15" Type="http://schemas.openxmlformats.org/officeDocument/2006/relationships/image" Target="../media/image12.png"/><Relationship Id="rId10" Type="http://schemas.openxmlformats.org/officeDocument/2006/relationships/image" Target="../media/image9.svg"/><Relationship Id="rId19" Type="http://schemas.openxmlformats.org/officeDocument/2006/relationships/image" Target="../media/image15.svg"/><Relationship Id="rId4" Type="http://schemas.openxmlformats.org/officeDocument/2006/relationships/image" Target="../media/image5.svg"/><Relationship Id="rId9" Type="http://schemas.openxmlformats.org/officeDocument/2006/relationships/image" Target="../media/image8.png"/><Relationship Id="rId14" Type="http://schemas.openxmlformats.org/officeDocument/2006/relationships/hyperlink" Target="https://twitter.com/VDI_News" TargetMode="Externa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2.png"/><Relationship Id="rId18" Type="http://schemas.openxmlformats.org/officeDocument/2006/relationships/hyperlink" Target="https://twitter.com/VDI_News" TargetMode="External"/><Relationship Id="rId3" Type="http://schemas.openxmlformats.org/officeDocument/2006/relationships/hyperlink" Target="https://www.youtube.com/user/MeinVDI" TargetMode="External"/><Relationship Id="rId7" Type="http://schemas.openxmlformats.org/officeDocument/2006/relationships/image" Target="../media/image18.png"/><Relationship Id="rId12" Type="http://schemas.openxmlformats.org/officeDocument/2006/relationships/hyperlink" Target="https://www.instagram.com/vdi_technikhelden/" TargetMode="External"/><Relationship Id="rId17" Type="http://schemas.openxmlformats.org/officeDocument/2006/relationships/image" Target="../media/image25.svg"/><Relationship Id="rId2" Type="http://schemas.openxmlformats.org/officeDocument/2006/relationships/image" Target="../media/image2.png"/><Relationship Id="rId16" Type="http://schemas.openxmlformats.org/officeDocument/2006/relationships/image" Target="../media/image24.png"/><Relationship Id="rId20" Type="http://schemas.openxmlformats.org/officeDocument/2006/relationships/image" Target="../media/image27.sv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blog.vdi.de/" TargetMode="External"/><Relationship Id="rId11" Type="http://schemas.openxmlformats.org/officeDocument/2006/relationships/image" Target="../media/image21.svg"/><Relationship Id="rId5" Type="http://schemas.openxmlformats.org/officeDocument/2006/relationships/image" Target="../media/image17.svg"/><Relationship Id="rId15" Type="http://schemas.openxmlformats.org/officeDocument/2006/relationships/hyperlink" Target="https://www.linkedin.com/company/vdi-verein-deutscher-ingenieure-e-v-/" TargetMode="External"/><Relationship Id="rId10" Type="http://schemas.openxmlformats.org/officeDocument/2006/relationships/image" Target="../media/image20.png"/><Relationship Id="rId19" Type="http://schemas.openxmlformats.org/officeDocument/2006/relationships/image" Target="../media/image26.png"/><Relationship Id="rId4" Type="http://schemas.openxmlformats.org/officeDocument/2006/relationships/image" Target="../media/image16.png"/><Relationship Id="rId9" Type="http://schemas.openxmlformats.org/officeDocument/2006/relationships/hyperlink" Target="https://www.facebook.com/VereinDeutscherIngenieure/" TargetMode="External"/><Relationship Id="rId14" Type="http://schemas.openxmlformats.org/officeDocument/2006/relationships/image" Target="../media/image23.sv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DI_Titelfolie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04247" y="3420000"/>
            <a:ext cx="2052000" cy="766877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1950"/>
              </a:lnSpc>
              <a:spcBef>
                <a:spcPts val="0"/>
              </a:spcBef>
              <a:buNone/>
              <a:defRPr sz="1600"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 algn="ctr">
              <a:buNone/>
              <a:defRPr sz="1500"/>
            </a:lvl2pPr>
            <a:lvl3pPr marL="685640" indent="0" algn="ctr">
              <a:buNone/>
              <a:defRPr sz="1350"/>
            </a:lvl3pPr>
            <a:lvl4pPr marL="1028460" indent="0" algn="ctr">
              <a:buNone/>
              <a:defRPr sz="1200"/>
            </a:lvl4pPr>
            <a:lvl5pPr marL="1371280" indent="0" algn="ctr">
              <a:buNone/>
              <a:defRPr sz="1200"/>
            </a:lvl5pPr>
            <a:lvl6pPr marL="1714100" indent="0" algn="ctr">
              <a:buNone/>
              <a:defRPr sz="1200"/>
            </a:lvl6pPr>
            <a:lvl7pPr marL="2056920" indent="0" algn="ctr">
              <a:buNone/>
              <a:defRPr sz="1200"/>
            </a:lvl7pPr>
            <a:lvl8pPr marL="2399740" indent="0" algn="ctr">
              <a:buNone/>
              <a:defRPr sz="1200"/>
            </a:lvl8pPr>
            <a:lvl9pPr marL="274256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102C1D83-7548-F3E1-3ABF-4D2759EA1F5D}"/>
              </a:ext>
            </a:extLst>
          </p:cNvPr>
          <p:cNvSpPr txBox="1">
            <a:spLocks/>
          </p:cNvSpPr>
          <p:nvPr userDrawn="1"/>
        </p:nvSpPr>
        <p:spPr>
          <a:xfrm>
            <a:off x="7049096" y="5023994"/>
            <a:ext cx="335759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000000"/>
                </a:solidFill>
                <a:latin typeface="Nunito Sans Light" pitchFamily="2" charset="77"/>
              </a:rPr>
              <a:t>Stand: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D5946372-7B0D-4157-2D60-FE3CDA99CE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3524" y="287463"/>
            <a:ext cx="1096314" cy="681115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6BBC6A97-030E-2AF4-BA19-5CF1352C27E2}"/>
              </a:ext>
            </a:extLst>
          </p:cNvPr>
          <p:cNvGrpSpPr/>
          <p:nvPr userDrawn="1"/>
        </p:nvGrpSpPr>
        <p:grpSpPr>
          <a:xfrm>
            <a:off x="6822943" y="5067507"/>
            <a:ext cx="134158" cy="141567"/>
            <a:chOff x="7072313" y="5197475"/>
            <a:chExt cx="134158" cy="141567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45B1E43E-7A5A-D794-B820-0F4D8FBEA802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403B98A-2B57-0960-F855-1568D35FC066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7783C5B2-B427-F452-8E19-FB91F6A53045}"/>
              </a:ext>
            </a:extLst>
          </p:cNvPr>
          <p:cNvSpPr txBox="1">
            <a:spLocks/>
          </p:cNvSpPr>
          <p:nvPr userDrawn="1"/>
        </p:nvSpPr>
        <p:spPr>
          <a:xfrm>
            <a:off x="7404696" y="5023994"/>
            <a:ext cx="894622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72FEBF-E325-4840-B634-45479AF823DE}" type="datetime1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t>06.04.2025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0F069C4-BDB4-8B51-CA2B-E98D8F7C5CC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300000" cy="5715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Titelbild einfügen:</a:t>
            </a:r>
          </a:p>
          <a:p>
            <a:r>
              <a:rPr lang="de-DE" dirty="0"/>
              <a:t>Format: 15,88 x 17,5 cm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6C56589-1077-623F-A523-E6F28E3AF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4000" y="2232000"/>
            <a:ext cx="2053497" cy="1122567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8E6A58A-0C98-195A-F508-84FFDD94F75B}"/>
              </a:ext>
            </a:extLst>
          </p:cNvPr>
          <p:cNvSpPr txBox="1">
            <a:spLocks/>
          </p:cNvSpPr>
          <p:nvPr userDrawn="1"/>
        </p:nvSpPr>
        <p:spPr>
          <a:xfrm>
            <a:off x="7049095" y="5209709"/>
            <a:ext cx="1807151" cy="26551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1" i="0" dirty="0">
                <a:solidFill>
                  <a:srgbClr val="000000"/>
                </a:solidFill>
                <a:latin typeface="Nunito Sans Light" pitchFamily="2" charset="77"/>
              </a:rPr>
              <a:t>BV/LV Muster</a:t>
            </a:r>
          </a:p>
        </p:txBody>
      </p:sp>
    </p:spTree>
    <p:extLst>
      <p:ext uri="{BB962C8B-B14F-4D97-AF65-F5344CB8AC3E}">
        <p14:creationId xmlns:p14="http://schemas.microsoft.com/office/powerpoint/2010/main" val="907032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groß_1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4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2"/>
            <a:ext cx="7596450" cy="3332159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8" name="Datumsplatzhalter 17">
            <a:extLst>
              <a:ext uri="{FF2B5EF4-FFF2-40B4-BE49-F238E27FC236}">
                <a16:creationId xmlns:a16="http://schemas.microsoft.com/office/drawing/2014/main" id="{E1EE21AD-C12F-9A06-A8E0-F17DFD36EAC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53FE6ECB-4419-451E-B0C0-E8A6C09D2AA9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D153E2E8-632D-C129-C95B-4512BE71FC3F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A13375-DCF2-E892-247F-968D5591C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9476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groß_1-Spalten +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4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3"/>
            <a:ext cx="7596450" cy="259194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8" name="Datumsplatzhalter 17">
            <a:extLst>
              <a:ext uri="{FF2B5EF4-FFF2-40B4-BE49-F238E27FC236}">
                <a16:creationId xmlns:a16="http://schemas.microsoft.com/office/drawing/2014/main" id="{E1EE21AD-C12F-9A06-A8E0-F17DFD36EAC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F83942F0-3843-4D09-BE0A-DC04017321A9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D153E2E8-632D-C129-C95B-4512BE71FC3F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A13375-DCF2-E892-247F-968D5591C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  <p:sp>
        <p:nvSpPr>
          <p:cNvPr id="18" name="Textplatzhalter 25">
            <a:extLst>
              <a:ext uri="{FF2B5EF4-FFF2-40B4-BE49-F238E27FC236}">
                <a16:creationId xmlns:a16="http://schemas.microsoft.com/office/drawing/2014/main" id="{EC31ECCB-B1EA-385B-2512-9B162B61C8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3438" y="4333875"/>
            <a:ext cx="7596449" cy="57149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 b="1">
                <a:solidFill>
                  <a:schemeClr val="tx1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Ein Fazit wird in fett und blau eingefügt</a:t>
            </a:r>
          </a:p>
        </p:txBody>
      </p:sp>
    </p:spTree>
    <p:extLst>
      <p:ext uri="{BB962C8B-B14F-4D97-AF65-F5344CB8AC3E}">
        <p14:creationId xmlns:p14="http://schemas.microsoft.com/office/powerpoint/2010/main" val="76205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groß_1-Spalten +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4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3"/>
            <a:ext cx="7596450" cy="259194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8" name="Datumsplatzhalter 17">
            <a:extLst>
              <a:ext uri="{FF2B5EF4-FFF2-40B4-BE49-F238E27FC236}">
                <a16:creationId xmlns:a16="http://schemas.microsoft.com/office/drawing/2014/main" id="{E1EE21AD-C12F-9A06-A8E0-F17DFD36EAC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41EB1827-9F1B-40EF-BB07-FD64B05BED36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D153E2E8-632D-C129-C95B-4512BE71FC3F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A13375-DCF2-E892-247F-968D5591C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  <p:sp>
        <p:nvSpPr>
          <p:cNvPr id="18" name="Textplatzhalter 25">
            <a:extLst>
              <a:ext uri="{FF2B5EF4-FFF2-40B4-BE49-F238E27FC236}">
                <a16:creationId xmlns:a16="http://schemas.microsoft.com/office/drawing/2014/main" id="{EC31ECCB-B1EA-385B-2512-9B162B61C8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3438" y="4333875"/>
            <a:ext cx="7596449" cy="57149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 b="0">
                <a:solidFill>
                  <a:srgbClr val="777776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Eine Quellenangabe kann hier eingefügt werden.</a:t>
            </a:r>
          </a:p>
        </p:txBody>
      </p:sp>
    </p:spTree>
    <p:extLst>
      <p:ext uri="{BB962C8B-B14F-4D97-AF65-F5344CB8AC3E}">
        <p14:creationId xmlns:p14="http://schemas.microsoft.com/office/powerpoint/2010/main" val="289266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groß_2-Spalten + Textbaust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5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3"/>
            <a:ext cx="7596450" cy="3332162"/>
          </a:xfrm>
        </p:spPr>
        <p:txBody>
          <a:bodyPr lIns="0" tIns="0" rIns="0" bIns="0" numCol="2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zwei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>
                <a:latin typeface="+mj-lt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8" name="Datumsplatzhalter 17">
            <a:extLst>
              <a:ext uri="{FF2B5EF4-FFF2-40B4-BE49-F238E27FC236}">
                <a16:creationId xmlns:a16="http://schemas.microsoft.com/office/drawing/2014/main" id="{AB794474-B4A1-7F13-BAB4-CBDDD6A9D05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D4C9424E-3B15-4570-925D-0442321685F3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EB527EA6-B753-9AAB-BE9F-14FD2C0FC919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F6869FC-3375-C22C-2F9D-35A201DB25A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475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Bild_groß+ Textbaust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3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8824" y="1573212"/>
            <a:ext cx="3603625" cy="3332159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 algn="l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tabLst>
                <a:tab pos="5643563" algn="l"/>
              </a:tabLst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7" name="Bildplatzhalter 30">
            <a:extLst>
              <a:ext uri="{FF2B5EF4-FFF2-40B4-BE49-F238E27FC236}">
                <a16:creationId xmlns:a16="http://schemas.microsoft.com/office/drawing/2014/main" id="{F649D262-B7A6-5587-9AC1-B63A2873D4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76000" y="1575607"/>
            <a:ext cx="3717190" cy="3345702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6EC3EB44-DE03-EBA1-25FD-5D960371404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7A7FF8A5-15EA-4E1A-9504-F86032331F0A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E4A87E99-DB3E-7E0E-0444-8234D4F759B5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D932C82-5AEE-A8E9-939D-4372F0DF045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870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gramm + Textbaust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3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8824" y="1573212"/>
            <a:ext cx="3603625" cy="3332159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 algn="l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tabLst>
                <a:tab pos="5643563" algn="l"/>
              </a:tabLst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E51DF3A5-73A3-46F5-9368-A3595747D415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573088" y="1570805"/>
            <a:ext cx="3708663" cy="332975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6EC3EB44-DE03-EBA1-25FD-5D960371404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443A96AF-58B0-4B5A-8ABC-5D15949E407D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E4A87E99-DB3E-7E0E-0444-8234D4F759B5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D932C82-5AEE-A8E9-939D-4372F0DF045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21832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abelle + Textbaust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ellenplatzhalter 9">
            <a:extLst>
              <a:ext uri="{FF2B5EF4-FFF2-40B4-BE49-F238E27FC236}">
                <a16:creationId xmlns:a16="http://schemas.microsoft.com/office/drawing/2014/main" id="{0383E8CB-4886-092A-2D51-1BA17E58521D}"/>
              </a:ext>
            </a:extLst>
          </p:cNvPr>
          <p:cNvSpPr>
            <a:spLocks noGrp="1"/>
          </p:cNvSpPr>
          <p:nvPr>
            <p:ph type="tbl" sz="quarter" idx="22"/>
          </p:nvPr>
        </p:nvSpPr>
        <p:spPr>
          <a:xfrm>
            <a:off x="573087" y="1573213"/>
            <a:ext cx="3711575" cy="3326998"/>
          </a:xfrm>
        </p:spPr>
        <p:txBody>
          <a:bodyPr/>
          <a:lstStyle/>
          <a:p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3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8824" y="1573212"/>
            <a:ext cx="3603625" cy="3332159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 algn="l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tabLst>
                <a:tab pos="5643563" algn="l"/>
              </a:tabLst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6EC3EB44-DE03-EBA1-25FD-5D960371404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354E6ADB-7227-4AC6-8F86-702A88C7E6B3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E4A87E99-DB3E-7E0E-0444-8234D4F759B5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D932C82-5AEE-A8E9-939D-4372F0DF045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791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+ Textbaust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7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8824" y="1573212"/>
            <a:ext cx="3603625" cy="3332159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7" name="Bildplatzhalter 30">
            <a:extLst>
              <a:ext uri="{FF2B5EF4-FFF2-40B4-BE49-F238E27FC236}">
                <a16:creationId xmlns:a16="http://schemas.microsoft.com/office/drawing/2014/main" id="{F649D262-B7A6-5587-9AC1-B63A2873D4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76000" y="1575607"/>
            <a:ext cx="1784246" cy="1281891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3" name="Bildplatzhalter 30">
            <a:extLst>
              <a:ext uri="{FF2B5EF4-FFF2-40B4-BE49-F238E27FC236}">
                <a16:creationId xmlns:a16="http://schemas.microsoft.com/office/drawing/2014/main" id="{9D3A5821-8B3E-E4A4-8964-887EB6EC6A0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98585" y="1575607"/>
            <a:ext cx="1784246" cy="1281891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4" name="Textplatzhalter 25">
            <a:extLst>
              <a:ext uri="{FF2B5EF4-FFF2-40B4-BE49-F238E27FC236}">
                <a16:creationId xmlns:a16="http://schemas.microsoft.com/office/drawing/2014/main" id="{F29BA450-7239-2AB8-6559-114D21F87B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1846" y="3149601"/>
            <a:ext cx="1860204" cy="547087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</a:t>
            </a:r>
          </a:p>
        </p:txBody>
      </p:sp>
      <p:sp>
        <p:nvSpPr>
          <p:cNvPr id="35" name="Textplatzhalter 25">
            <a:extLst>
              <a:ext uri="{FF2B5EF4-FFF2-40B4-BE49-F238E27FC236}">
                <a16:creationId xmlns:a16="http://schemas.microsoft.com/office/drawing/2014/main" id="{0218FF85-BA9B-46CC-9F34-0AD5E86C4C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1846" y="3862610"/>
            <a:ext cx="1860204" cy="547087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</a:t>
            </a:r>
          </a:p>
        </p:txBody>
      </p:sp>
      <p:sp>
        <p:nvSpPr>
          <p:cNvPr id="38" name="Datumsplatzhalter 17">
            <a:extLst>
              <a:ext uri="{FF2B5EF4-FFF2-40B4-BE49-F238E27FC236}">
                <a16:creationId xmlns:a16="http://schemas.microsoft.com/office/drawing/2014/main" id="{5129979D-3D1F-5A54-859A-A6770D263CED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CE78B698-67FD-447A-80A6-4DD375464773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F941FEBF-C55D-7ED2-98BB-81D56A5B2F92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BA4D19F-E90C-FBFD-C024-6484E8E3934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02710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_Bild_groß+ Textbaust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91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99" y="1573212"/>
            <a:ext cx="3414976" cy="3332159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, Aufzählung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7" name="Bildplatzhalter 30">
            <a:extLst>
              <a:ext uri="{FF2B5EF4-FFF2-40B4-BE49-F238E27FC236}">
                <a16:creationId xmlns:a16="http://schemas.microsoft.com/office/drawing/2014/main" id="{F649D262-B7A6-5587-9AC1-B63A2873D4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90279" y="1575607"/>
            <a:ext cx="2169260" cy="3329763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18" name="Textplatzhalter 25">
            <a:extLst>
              <a:ext uri="{FF2B5EF4-FFF2-40B4-BE49-F238E27FC236}">
                <a16:creationId xmlns:a16="http://schemas.microsoft.com/office/drawing/2014/main" id="{39FC17B7-4C15-2E98-C163-2AADBE036E5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08788" y="1573212"/>
            <a:ext cx="1903412" cy="3332159"/>
          </a:xfrm>
        </p:spPr>
        <p:txBody>
          <a:bodyPr lIns="0" tIns="0" rIns="0" bIns="0" numCol="1" spcCol="396000">
            <a:noAutofit/>
          </a:bodyPr>
          <a:lstStyle>
            <a:lvl1pPr marL="285750" marR="0" indent="-28575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, Aufzählung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4" name="Datumsplatzhalter 17">
            <a:extLst>
              <a:ext uri="{FF2B5EF4-FFF2-40B4-BE49-F238E27FC236}">
                <a16:creationId xmlns:a16="http://schemas.microsoft.com/office/drawing/2014/main" id="{EF8CA783-08B3-8697-458F-E29A45021B13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F75630EC-B296-4E17-AEDE-1069E90B4DBB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A24ADF3-D21E-FA01-B850-154911504E33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E8E37B8-C765-964D-BFB3-D1A3769D69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426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Bild_groß+ Textbaust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7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2"/>
            <a:ext cx="2778388" cy="3332159"/>
          </a:xfrm>
        </p:spPr>
        <p:txBody>
          <a:bodyPr lIns="0" tIns="0" rIns="0" bIns="0" numCol="1" spcCol="396000">
            <a:noAutofit/>
          </a:bodyPr>
          <a:lstStyle>
            <a:lvl1pPr marL="285750" marR="0" indent="-28575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, Aufzählung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7" name="Bildplatzhalter 30">
            <a:extLst>
              <a:ext uri="{FF2B5EF4-FFF2-40B4-BE49-F238E27FC236}">
                <a16:creationId xmlns:a16="http://schemas.microsoft.com/office/drawing/2014/main" id="{F649D262-B7A6-5587-9AC1-B63A2873D4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72000" y="1575607"/>
            <a:ext cx="3607889" cy="3329763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8F0A7EF2-F820-8330-1059-2DDCF9D1BFF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36C1A203-B970-43D9-A090-B46B0828937B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4FFAF55-13C6-2E02-CEAD-7EA097C2710B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1FFADAA-7669-DA9A-29F8-0338B5449E4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2746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1 + Botschaften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D5946372-7B0D-4157-2D60-FE3CDA99CE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3524" y="287463"/>
            <a:ext cx="1096314" cy="681115"/>
          </a:xfrm>
          <a:prstGeom prst="rect">
            <a:avLst/>
          </a:prstGeom>
        </p:spPr>
      </p:pic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E76B2A2E-8E2A-EC5E-7769-3D98F5B6D1ED}"/>
              </a:ext>
            </a:extLst>
          </p:cNvPr>
          <p:cNvCxnSpPr>
            <a:cxnSpLocks/>
          </p:cNvCxnSpPr>
          <p:nvPr userDrawn="1"/>
        </p:nvCxnSpPr>
        <p:spPr>
          <a:xfrm>
            <a:off x="573088" y="5197475"/>
            <a:ext cx="7095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7C5A3D53-D0F7-D3D4-CAB3-61A5956F2202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FD21C7FE-6BE7-50AB-9B4E-45976D49D574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854BCF5-353A-6A11-8BF5-8A1AEC033933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50" name="Subtitle 2">
            <a:extLst>
              <a:ext uri="{FF2B5EF4-FFF2-40B4-BE49-F238E27FC236}">
                <a16:creationId xmlns:a16="http://schemas.microsoft.com/office/drawing/2014/main" id="{E3C99B22-D45C-714C-C3A6-575BC706A8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1200" y="2769948"/>
            <a:ext cx="3329722" cy="766877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1950"/>
              </a:lnSpc>
              <a:spcBef>
                <a:spcPts val="0"/>
              </a:spcBef>
              <a:buNone/>
              <a:defRPr sz="1600"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 algn="ctr">
              <a:buNone/>
              <a:defRPr sz="1500"/>
            </a:lvl2pPr>
            <a:lvl3pPr marL="685640" indent="0" algn="ctr">
              <a:buNone/>
              <a:defRPr sz="1350"/>
            </a:lvl3pPr>
            <a:lvl4pPr marL="1028460" indent="0" algn="ctr">
              <a:buNone/>
              <a:defRPr sz="1200"/>
            </a:lvl4pPr>
            <a:lvl5pPr marL="1371280" indent="0" algn="ctr">
              <a:buNone/>
              <a:defRPr sz="1200"/>
            </a:lvl5pPr>
            <a:lvl6pPr marL="1714100" indent="0" algn="ctr">
              <a:buNone/>
              <a:defRPr sz="1200"/>
            </a:lvl6pPr>
            <a:lvl7pPr marL="2056920" indent="0" algn="ctr">
              <a:buNone/>
              <a:defRPr sz="1200"/>
            </a:lvl7pPr>
            <a:lvl8pPr marL="2399740" indent="0" algn="ctr">
              <a:buNone/>
              <a:defRPr sz="1200"/>
            </a:lvl8pPr>
            <a:lvl9pPr marL="2742560" indent="0" algn="ctr">
              <a:buNone/>
              <a:defRPr sz="1200"/>
            </a:lvl9pPr>
          </a:lstStyle>
          <a:p>
            <a:r>
              <a:rPr lang="de-DE" dirty="0"/>
              <a:t>Master-Untertitelformat bearbeiten </a:t>
            </a:r>
            <a:r>
              <a:rPr lang="de-DE" dirty="0" err="1"/>
              <a:t>Tamqua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etur</a:t>
            </a:r>
            <a:r>
              <a:rPr lang="de-DE" dirty="0"/>
              <a:t> Nam laut </a:t>
            </a:r>
            <a:r>
              <a:rPr lang="de-DE" dirty="0" err="1"/>
              <a:t>Agnatio</a:t>
            </a:r>
            <a:endParaRPr lang="de-DE" dirty="0"/>
          </a:p>
          <a:p>
            <a:endParaRPr lang="en-US" dirty="0"/>
          </a:p>
        </p:txBody>
      </p:sp>
      <p:sp>
        <p:nvSpPr>
          <p:cNvPr id="51" name="Textplatzhalter 9">
            <a:extLst>
              <a:ext uri="{FF2B5EF4-FFF2-40B4-BE49-F238E27FC236}">
                <a16:creationId xmlns:a16="http://schemas.microsoft.com/office/drawing/2014/main" id="{05AD28BA-7E60-8FA0-698F-0B70D0B2E5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92165" y="1581949"/>
            <a:ext cx="3329722" cy="1102866"/>
          </a:xfrm>
        </p:spPr>
        <p:txBody>
          <a:bodyPr>
            <a:spAutoFit/>
          </a:bodyPr>
          <a:lstStyle>
            <a:lvl1pPr marL="0" indent="0" algn="l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pPr lvl="0"/>
            <a:r>
              <a:rPr lang="de-DE" dirty="0"/>
              <a:t>Intro Master </a:t>
            </a:r>
            <a:r>
              <a:rPr lang="de-DE" dirty="0" err="1"/>
              <a:t>Lorped</a:t>
            </a:r>
            <a:endParaRPr lang="de-DE" dirty="0"/>
          </a:p>
          <a:p>
            <a:pPr lvl="0"/>
            <a:r>
              <a:rPr lang="de-DE" dirty="0" err="1"/>
              <a:t>Izuem</a:t>
            </a:r>
            <a:r>
              <a:rPr lang="de-DE" dirty="0"/>
              <a:t> </a:t>
            </a:r>
            <a:r>
              <a:rPr lang="de-DE" dirty="0" err="1"/>
              <a:t>awjfwjf</a:t>
            </a:r>
            <a:r>
              <a:rPr lang="de-DE" dirty="0"/>
              <a:t> der bearbeiten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287CE83C-7FB9-8B29-300C-85A47EBC44A3}"/>
              </a:ext>
            </a:extLst>
          </p:cNvPr>
          <p:cNvGrpSpPr/>
          <p:nvPr userDrawn="1"/>
        </p:nvGrpSpPr>
        <p:grpSpPr>
          <a:xfrm>
            <a:off x="731486" y="3083028"/>
            <a:ext cx="2265685" cy="1823151"/>
            <a:chOff x="782638" y="2272567"/>
            <a:chExt cx="2265685" cy="1823151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2E53E8FD-1356-983F-FA76-3F96A28AD6ED}"/>
                </a:ext>
              </a:extLst>
            </p:cNvPr>
            <p:cNvSpPr/>
            <p:nvPr/>
          </p:nvSpPr>
          <p:spPr>
            <a:xfrm>
              <a:off x="782638" y="2497601"/>
              <a:ext cx="2040093" cy="159811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74"/>
            </a:p>
          </p:txBody>
        </p: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C4E75654-2565-37B4-EF3E-AD76D3EAA15D}"/>
                </a:ext>
              </a:extLst>
            </p:cNvPr>
            <p:cNvGrpSpPr/>
            <p:nvPr/>
          </p:nvGrpSpPr>
          <p:grpSpPr>
            <a:xfrm>
              <a:off x="2356898" y="2272567"/>
              <a:ext cx="691425" cy="691425"/>
              <a:chOff x="5706319" y="5440101"/>
              <a:chExt cx="2048719" cy="2048719"/>
            </a:xfrm>
          </p:grpSpPr>
          <p:sp>
            <p:nvSpPr>
              <p:cNvPr id="56" name="Rechteck 55">
                <a:extLst>
                  <a:ext uri="{FF2B5EF4-FFF2-40B4-BE49-F238E27FC236}">
                    <a16:creationId xmlns:a16="http://schemas.microsoft.com/office/drawing/2014/main" id="{BE0C01AB-9DCC-61AC-C598-BE37EEE7C3D3}"/>
                  </a:ext>
                </a:extLst>
              </p:cNvPr>
              <p:cNvSpPr/>
              <p:nvPr/>
            </p:nvSpPr>
            <p:spPr>
              <a:xfrm>
                <a:off x="5706319" y="5440101"/>
                <a:ext cx="2048719" cy="6667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74"/>
              </a:p>
            </p:txBody>
          </p:sp>
          <p:sp>
            <p:nvSpPr>
              <p:cNvPr id="57" name="Rechteck 56">
                <a:extLst>
                  <a:ext uri="{FF2B5EF4-FFF2-40B4-BE49-F238E27FC236}">
                    <a16:creationId xmlns:a16="http://schemas.microsoft.com/office/drawing/2014/main" id="{42DA9DD0-ED9E-47B4-E251-EA8B2F4A9F44}"/>
                  </a:ext>
                </a:extLst>
              </p:cNvPr>
              <p:cNvSpPr/>
              <p:nvPr/>
            </p:nvSpPr>
            <p:spPr>
              <a:xfrm rot="16200000">
                <a:off x="6395634" y="6131068"/>
                <a:ext cx="2048719" cy="6667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74"/>
              </a:p>
            </p:txBody>
          </p:sp>
        </p:grp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5D877AB0-F049-1854-276E-6A05C624664B}"/>
                </a:ext>
              </a:extLst>
            </p:cNvPr>
            <p:cNvSpPr txBox="1"/>
            <p:nvPr/>
          </p:nvSpPr>
          <p:spPr>
            <a:xfrm>
              <a:off x="783779" y="2497602"/>
              <a:ext cx="2040093" cy="1598116"/>
            </a:xfrm>
            <a:prstGeom prst="rect">
              <a:avLst/>
            </a:prstGeom>
            <a:noFill/>
          </p:spPr>
          <p:txBody>
            <a:bodyPr wrap="square" lIns="125999" tIns="125999" rIns="108000" bIns="0" rtlCol="0" anchor="ctr">
              <a:noAutofit/>
            </a:bodyPr>
            <a:lstStyle/>
            <a:p>
              <a:pPr>
                <a:lnSpc>
                  <a:spcPts val="3645"/>
                </a:lnSpc>
              </a:pPr>
              <a:r>
                <a:rPr lang="de-DE" sz="3600" b="1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Wir</a:t>
              </a:r>
            </a:p>
            <a:p>
              <a:pPr>
                <a:lnSpc>
                  <a:spcPts val="3645"/>
                </a:lnSpc>
              </a:pPr>
              <a:r>
                <a:rPr lang="de-DE" sz="3600" b="1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gestalten</a:t>
              </a:r>
            </a:p>
            <a:p>
              <a:pPr>
                <a:lnSpc>
                  <a:spcPts val="3645"/>
                </a:lnSpc>
              </a:pPr>
              <a:r>
                <a:rPr lang="de-DE" sz="3600" b="1" dirty="0">
                  <a:solidFill>
                    <a:srgbClr val="9DD0F4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Zukunft</a:t>
              </a:r>
            </a:p>
          </p:txBody>
        </p:sp>
      </p:grpSp>
      <p:sp>
        <p:nvSpPr>
          <p:cNvPr id="22" name="Datumsplatzhalter 17">
            <a:extLst>
              <a:ext uri="{FF2B5EF4-FFF2-40B4-BE49-F238E27FC236}">
                <a16:creationId xmlns:a16="http://schemas.microsoft.com/office/drawing/2014/main" id="{0A4C6E6D-3728-584A-0A48-2D1E552AD8F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152000" y="5374800"/>
            <a:ext cx="72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012D131E-B317-4839-AB60-11B3EC6C6625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7C162887-55ED-9D20-899A-B7D927665A07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</p:spTree>
    <p:extLst>
      <p:ext uri="{BB962C8B-B14F-4D97-AF65-F5344CB8AC3E}">
        <p14:creationId xmlns:p14="http://schemas.microsoft.com/office/powerpoint/2010/main" val="3838495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Bild_groß+ Textbaust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7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 flipV="1">
            <a:off x="4859339" y="5197475"/>
            <a:ext cx="3320550" cy="208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000" y="972000"/>
            <a:ext cx="3319889" cy="766868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0000" y="644400"/>
            <a:ext cx="3319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bearbeiten</a:t>
            </a:r>
          </a:p>
        </p:txBody>
      </p:sp>
      <p:sp>
        <p:nvSpPr>
          <p:cNvPr id="27" name="Bildplatzhalter 30">
            <a:extLst>
              <a:ext uri="{FF2B5EF4-FFF2-40B4-BE49-F238E27FC236}">
                <a16:creationId xmlns:a16="http://schemas.microsoft.com/office/drawing/2014/main" id="{F649D262-B7A6-5587-9AC1-B63A2873D4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" y="0"/>
            <a:ext cx="4139952" cy="5710828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1" name="Textplatzhalter 25">
            <a:extLst>
              <a:ext uri="{FF2B5EF4-FFF2-40B4-BE49-F238E27FC236}">
                <a16:creationId xmlns:a16="http://schemas.microsoft.com/office/drawing/2014/main" id="{4FDBB770-F7E3-78FD-F54D-2F042D873C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001" y="1918255"/>
            <a:ext cx="3312450" cy="298711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24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60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D5946372-7B0D-4157-2D60-FE3CDA99CE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3524" y="287463"/>
            <a:ext cx="1096314" cy="681115"/>
          </a:xfrm>
          <a:prstGeom prst="rect">
            <a:avLst/>
          </a:prstGeom>
        </p:spPr>
      </p:pic>
      <p:sp>
        <p:nvSpPr>
          <p:cNvPr id="14" name="Medienplatzhalter 3">
            <a:extLst>
              <a:ext uri="{FF2B5EF4-FFF2-40B4-BE49-F238E27FC236}">
                <a16:creationId xmlns:a16="http://schemas.microsoft.com/office/drawing/2014/main" id="{56449E7D-719F-69E1-F1FF-287286F21137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-2" y="0"/>
            <a:ext cx="6300000" cy="572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Video einfügen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5FE802C1-5231-D253-8364-DAF29C245A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04247" y="3420000"/>
            <a:ext cx="2052000" cy="766877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1950"/>
              </a:lnSpc>
              <a:spcBef>
                <a:spcPts val="0"/>
              </a:spcBef>
              <a:buNone/>
              <a:defRPr sz="1600"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 algn="ctr">
              <a:buNone/>
              <a:defRPr sz="1500"/>
            </a:lvl2pPr>
            <a:lvl3pPr marL="685640" indent="0" algn="ctr">
              <a:buNone/>
              <a:defRPr sz="1350"/>
            </a:lvl3pPr>
            <a:lvl4pPr marL="1028460" indent="0" algn="ctr">
              <a:buNone/>
              <a:defRPr sz="1200"/>
            </a:lvl4pPr>
            <a:lvl5pPr marL="1371280" indent="0" algn="ctr">
              <a:buNone/>
              <a:defRPr sz="1200"/>
            </a:lvl5pPr>
            <a:lvl6pPr marL="1714100" indent="0" algn="ctr">
              <a:buNone/>
              <a:defRPr sz="1200"/>
            </a:lvl6pPr>
            <a:lvl7pPr marL="2056920" indent="0" algn="ctr">
              <a:buNone/>
              <a:defRPr sz="1200"/>
            </a:lvl7pPr>
            <a:lvl8pPr marL="2399740" indent="0" algn="ctr">
              <a:buNone/>
              <a:defRPr sz="1200"/>
            </a:lvl8pPr>
            <a:lvl9pPr marL="274256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24" name="Titel 11">
            <a:extLst>
              <a:ext uri="{FF2B5EF4-FFF2-40B4-BE49-F238E27FC236}">
                <a16:creationId xmlns:a16="http://schemas.microsoft.com/office/drawing/2014/main" id="{D27E290B-5AE3-F2ED-6166-DB99789EA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4000" y="2232000"/>
            <a:ext cx="2053497" cy="1122567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314383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3D71E52F-D09F-0740-9181-7CBB8C4E6464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9144000" cy="5715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Video einfügen</a:t>
            </a:r>
          </a:p>
        </p:txBody>
      </p:sp>
    </p:spTree>
    <p:extLst>
      <p:ext uri="{BB962C8B-B14F-4D97-AF65-F5344CB8AC3E}">
        <p14:creationId xmlns:p14="http://schemas.microsoft.com/office/powerpoint/2010/main" val="24786898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Bild_groß+ Textbaust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6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2A63E9C-81EA-01C8-CAA1-4D0793858AE6}"/>
              </a:ext>
            </a:extLst>
          </p:cNvPr>
          <p:cNvSpPr/>
          <p:nvPr userDrawn="1"/>
        </p:nvSpPr>
        <p:spPr>
          <a:xfrm>
            <a:off x="0" y="1679404"/>
            <a:ext cx="9144000" cy="61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BBF087A-8CE7-4A13-06E1-D9C229D6CC7E}"/>
              </a:ext>
            </a:extLst>
          </p:cNvPr>
          <p:cNvGrpSpPr/>
          <p:nvPr userDrawn="1"/>
        </p:nvGrpSpPr>
        <p:grpSpPr>
          <a:xfrm>
            <a:off x="2432050" y="1518267"/>
            <a:ext cx="791614" cy="1066437"/>
            <a:chOff x="870898" y="1412065"/>
            <a:chExt cx="791614" cy="1066437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69656A92-F125-5FE9-1ED9-F983E3A58FFE}"/>
                </a:ext>
              </a:extLst>
            </p:cNvPr>
            <p:cNvGrpSpPr/>
            <p:nvPr userDrawn="1"/>
          </p:nvGrpSpPr>
          <p:grpSpPr>
            <a:xfrm>
              <a:off x="870898" y="1417340"/>
              <a:ext cx="679299" cy="1061162"/>
              <a:chOff x="870898" y="1417340"/>
              <a:chExt cx="679299" cy="1061162"/>
            </a:xfrm>
            <a:solidFill>
              <a:schemeClr val="accent4"/>
            </a:solidFill>
          </p:grpSpPr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0C12F752-A1EC-5229-A8CD-0B396B4A8BF7}"/>
                  </a:ext>
                </a:extLst>
              </p:cNvPr>
              <p:cNvSpPr/>
              <p:nvPr userDrawn="1"/>
            </p:nvSpPr>
            <p:spPr>
              <a:xfrm>
                <a:off x="870898" y="1417340"/>
                <a:ext cx="679299" cy="796468"/>
              </a:xfrm>
              <a:prstGeom prst="rect">
                <a:avLst/>
              </a:prstGeom>
              <a:solidFill>
                <a:srgbClr val="33D2C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" name="Dreieck 1">
                <a:extLst>
                  <a:ext uri="{FF2B5EF4-FFF2-40B4-BE49-F238E27FC236}">
                    <a16:creationId xmlns:a16="http://schemas.microsoft.com/office/drawing/2014/main" id="{0A85D392-6567-D922-8A0D-1C503D6FF727}"/>
                  </a:ext>
                </a:extLst>
              </p:cNvPr>
              <p:cNvSpPr/>
              <p:nvPr userDrawn="1"/>
            </p:nvSpPr>
            <p:spPr>
              <a:xfrm rot="10800000">
                <a:off x="871119" y="2213807"/>
                <a:ext cx="679078" cy="264695"/>
              </a:xfrm>
              <a:prstGeom prst="triangle">
                <a:avLst/>
              </a:prstGeom>
              <a:solidFill>
                <a:srgbClr val="33D2C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" name="Rechtwinkliges Dreieck 5">
              <a:extLst>
                <a:ext uri="{FF2B5EF4-FFF2-40B4-BE49-F238E27FC236}">
                  <a16:creationId xmlns:a16="http://schemas.microsoft.com/office/drawing/2014/main" id="{B108E189-9ED0-A8A4-F557-C1EB9C34B3BC}"/>
                </a:ext>
              </a:extLst>
            </p:cNvPr>
            <p:cNvSpPr/>
            <p:nvPr userDrawn="1"/>
          </p:nvSpPr>
          <p:spPr>
            <a:xfrm>
              <a:off x="1550197" y="1412065"/>
              <a:ext cx="112315" cy="161137"/>
            </a:xfrm>
            <a:prstGeom prst="rtTriangle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Textplatzhalter 25">
            <a:extLst>
              <a:ext uri="{FF2B5EF4-FFF2-40B4-BE49-F238E27FC236}">
                <a16:creationId xmlns:a16="http://schemas.microsoft.com/office/drawing/2014/main" id="{DF30B1F0-0CC1-7C85-26AB-8A05DD51A3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08788" y="2849359"/>
            <a:ext cx="1363662" cy="2054816"/>
          </a:xfrm>
        </p:spPr>
        <p:txBody>
          <a:bodyPr lIns="0" tIns="0" rIns="0" bIns="0" numCol="1" spcCol="540000">
            <a:noAutofit/>
          </a:bodyPr>
          <a:lstStyle>
            <a:lvl1pPr marL="0" marR="0" indent="0" algn="l" defTabSz="68564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Hier kann ein Text stehe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4B36D57-FD22-D472-9774-F20A228E337A}"/>
              </a:ext>
            </a:extLst>
          </p:cNvPr>
          <p:cNvGrpSpPr/>
          <p:nvPr userDrawn="1"/>
        </p:nvGrpSpPr>
        <p:grpSpPr>
          <a:xfrm>
            <a:off x="880086" y="1518267"/>
            <a:ext cx="791614" cy="1066437"/>
            <a:chOff x="870898" y="1412065"/>
            <a:chExt cx="791614" cy="1066437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8DE55C3-2D5F-3072-1679-85B69AFA0840}"/>
                </a:ext>
              </a:extLst>
            </p:cNvPr>
            <p:cNvGrpSpPr/>
            <p:nvPr userDrawn="1"/>
          </p:nvGrpSpPr>
          <p:grpSpPr>
            <a:xfrm>
              <a:off x="870898" y="1417340"/>
              <a:ext cx="679299" cy="1061162"/>
              <a:chOff x="870898" y="1417340"/>
              <a:chExt cx="679299" cy="1061162"/>
            </a:xfrm>
            <a:solidFill>
              <a:schemeClr val="accent4"/>
            </a:solidFill>
          </p:grpSpPr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275B8C7D-8C45-8CAA-74A7-DDBD3875159F}"/>
                  </a:ext>
                </a:extLst>
              </p:cNvPr>
              <p:cNvSpPr/>
              <p:nvPr userDrawn="1"/>
            </p:nvSpPr>
            <p:spPr>
              <a:xfrm>
                <a:off x="870898" y="1417340"/>
                <a:ext cx="679299" cy="79646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Dreieck 35">
                <a:extLst>
                  <a:ext uri="{FF2B5EF4-FFF2-40B4-BE49-F238E27FC236}">
                    <a16:creationId xmlns:a16="http://schemas.microsoft.com/office/drawing/2014/main" id="{3C0B77FE-511B-AED5-55DF-0E82619644D6}"/>
                  </a:ext>
                </a:extLst>
              </p:cNvPr>
              <p:cNvSpPr/>
              <p:nvPr userDrawn="1"/>
            </p:nvSpPr>
            <p:spPr>
              <a:xfrm rot="10800000">
                <a:off x="871119" y="2213807"/>
                <a:ext cx="679078" cy="264695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4" name="Rechtwinkliges Dreieck 33">
              <a:extLst>
                <a:ext uri="{FF2B5EF4-FFF2-40B4-BE49-F238E27FC236}">
                  <a16:creationId xmlns:a16="http://schemas.microsoft.com/office/drawing/2014/main" id="{821DBCDB-491C-4E25-7D42-2C00AA61E79C}"/>
                </a:ext>
              </a:extLst>
            </p:cNvPr>
            <p:cNvSpPr/>
            <p:nvPr userDrawn="1"/>
          </p:nvSpPr>
          <p:spPr>
            <a:xfrm>
              <a:off x="1550197" y="1412065"/>
              <a:ext cx="112315" cy="161137"/>
            </a:xfrm>
            <a:prstGeom prst="rtTriangle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910F278-00B0-8F0B-BEF5-B640A579B9E9}"/>
              </a:ext>
            </a:extLst>
          </p:cNvPr>
          <p:cNvGrpSpPr/>
          <p:nvPr userDrawn="1"/>
        </p:nvGrpSpPr>
        <p:grpSpPr>
          <a:xfrm>
            <a:off x="4009180" y="1518267"/>
            <a:ext cx="791614" cy="1066437"/>
            <a:chOff x="870898" y="1412065"/>
            <a:chExt cx="791614" cy="1066437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4F1B468F-C3AD-C9E6-9557-9AF2F9DE740B}"/>
                </a:ext>
              </a:extLst>
            </p:cNvPr>
            <p:cNvGrpSpPr/>
            <p:nvPr userDrawn="1"/>
          </p:nvGrpSpPr>
          <p:grpSpPr>
            <a:xfrm>
              <a:off x="870898" y="1417340"/>
              <a:ext cx="679299" cy="1061162"/>
              <a:chOff x="870898" y="1417340"/>
              <a:chExt cx="679299" cy="1061162"/>
            </a:xfrm>
            <a:solidFill>
              <a:schemeClr val="accent4"/>
            </a:solidFill>
          </p:grpSpPr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2D39B676-0F04-5302-2D4F-FAAC3A35AF28}"/>
                  </a:ext>
                </a:extLst>
              </p:cNvPr>
              <p:cNvSpPr/>
              <p:nvPr userDrawn="1"/>
            </p:nvSpPr>
            <p:spPr>
              <a:xfrm>
                <a:off x="870898" y="1417340"/>
                <a:ext cx="679299" cy="796468"/>
              </a:xfrm>
              <a:prstGeom prst="rect">
                <a:avLst/>
              </a:prstGeom>
              <a:solidFill>
                <a:srgbClr val="66DD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" name="Dreieck 41">
                <a:extLst>
                  <a:ext uri="{FF2B5EF4-FFF2-40B4-BE49-F238E27FC236}">
                    <a16:creationId xmlns:a16="http://schemas.microsoft.com/office/drawing/2014/main" id="{04101E5F-C954-5E1C-6B5C-50BF56E545B9}"/>
                  </a:ext>
                </a:extLst>
              </p:cNvPr>
              <p:cNvSpPr/>
              <p:nvPr userDrawn="1"/>
            </p:nvSpPr>
            <p:spPr>
              <a:xfrm rot="10800000">
                <a:off x="871119" y="2213807"/>
                <a:ext cx="679078" cy="264695"/>
              </a:xfrm>
              <a:prstGeom prst="triangle">
                <a:avLst/>
              </a:prstGeom>
              <a:solidFill>
                <a:srgbClr val="66DD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0" name="Rechtwinkliges Dreieck 39">
              <a:extLst>
                <a:ext uri="{FF2B5EF4-FFF2-40B4-BE49-F238E27FC236}">
                  <a16:creationId xmlns:a16="http://schemas.microsoft.com/office/drawing/2014/main" id="{C17BD9E7-B3E8-F7B7-8B7B-E7BF914113CE}"/>
                </a:ext>
              </a:extLst>
            </p:cNvPr>
            <p:cNvSpPr/>
            <p:nvPr userDrawn="1"/>
          </p:nvSpPr>
          <p:spPr>
            <a:xfrm>
              <a:off x="1550197" y="1412065"/>
              <a:ext cx="112315" cy="161137"/>
            </a:xfrm>
            <a:prstGeom prst="rtTriangle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87AD6740-2BA5-66A3-DA49-51497AAB625D}"/>
              </a:ext>
            </a:extLst>
          </p:cNvPr>
          <p:cNvGrpSpPr/>
          <p:nvPr userDrawn="1"/>
        </p:nvGrpSpPr>
        <p:grpSpPr>
          <a:xfrm>
            <a:off x="5561144" y="1518267"/>
            <a:ext cx="791614" cy="1066437"/>
            <a:chOff x="870898" y="1412065"/>
            <a:chExt cx="791614" cy="1066437"/>
          </a:xfrm>
        </p:grpSpPr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D7315E81-2627-0142-5CF9-451E1A097DE3}"/>
                </a:ext>
              </a:extLst>
            </p:cNvPr>
            <p:cNvGrpSpPr/>
            <p:nvPr userDrawn="1"/>
          </p:nvGrpSpPr>
          <p:grpSpPr>
            <a:xfrm>
              <a:off x="870898" y="1417340"/>
              <a:ext cx="679299" cy="1061162"/>
              <a:chOff x="870898" y="1417340"/>
              <a:chExt cx="679299" cy="1061162"/>
            </a:xfrm>
            <a:solidFill>
              <a:schemeClr val="accent4"/>
            </a:solidFill>
          </p:grpSpPr>
          <p:sp>
            <p:nvSpPr>
              <p:cNvPr id="46" name="Rechteck 45">
                <a:extLst>
                  <a:ext uri="{FF2B5EF4-FFF2-40B4-BE49-F238E27FC236}">
                    <a16:creationId xmlns:a16="http://schemas.microsoft.com/office/drawing/2014/main" id="{EA4354E0-D37B-B4F9-E513-FEE0EEAE1DC4}"/>
                  </a:ext>
                </a:extLst>
              </p:cNvPr>
              <p:cNvSpPr/>
              <p:nvPr userDrawn="1"/>
            </p:nvSpPr>
            <p:spPr>
              <a:xfrm>
                <a:off x="870898" y="1417340"/>
                <a:ext cx="679299" cy="796468"/>
              </a:xfrm>
              <a:prstGeom prst="rect">
                <a:avLst/>
              </a:prstGeom>
              <a:solidFill>
                <a:srgbClr val="99E9E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7" name="Dreieck 46">
                <a:extLst>
                  <a:ext uri="{FF2B5EF4-FFF2-40B4-BE49-F238E27FC236}">
                    <a16:creationId xmlns:a16="http://schemas.microsoft.com/office/drawing/2014/main" id="{AA477169-24C8-77F0-902D-BD8B663A5CF7}"/>
                  </a:ext>
                </a:extLst>
              </p:cNvPr>
              <p:cNvSpPr/>
              <p:nvPr userDrawn="1"/>
            </p:nvSpPr>
            <p:spPr>
              <a:xfrm rot="10800000">
                <a:off x="871119" y="2213807"/>
                <a:ext cx="679078" cy="264695"/>
              </a:xfrm>
              <a:prstGeom prst="triangle">
                <a:avLst/>
              </a:prstGeom>
              <a:solidFill>
                <a:srgbClr val="99E9E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5" name="Rechtwinkliges Dreieck 44">
              <a:extLst>
                <a:ext uri="{FF2B5EF4-FFF2-40B4-BE49-F238E27FC236}">
                  <a16:creationId xmlns:a16="http://schemas.microsoft.com/office/drawing/2014/main" id="{05312EC5-9696-9C56-C700-722FA21F946F}"/>
                </a:ext>
              </a:extLst>
            </p:cNvPr>
            <p:cNvSpPr/>
            <p:nvPr userDrawn="1"/>
          </p:nvSpPr>
          <p:spPr>
            <a:xfrm>
              <a:off x="1550197" y="1412065"/>
              <a:ext cx="112315" cy="161137"/>
            </a:xfrm>
            <a:prstGeom prst="rtTriangle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856DC70-2225-F1CF-DE15-1127267EF0A3}"/>
              </a:ext>
            </a:extLst>
          </p:cNvPr>
          <p:cNvGrpSpPr/>
          <p:nvPr userDrawn="1"/>
        </p:nvGrpSpPr>
        <p:grpSpPr>
          <a:xfrm>
            <a:off x="7080702" y="1518267"/>
            <a:ext cx="791614" cy="1066437"/>
            <a:chOff x="870898" y="1412065"/>
            <a:chExt cx="791614" cy="1066437"/>
          </a:xfrm>
        </p:grpSpPr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E1B62D0D-8B3A-9319-9D33-077DB29A903A}"/>
                </a:ext>
              </a:extLst>
            </p:cNvPr>
            <p:cNvGrpSpPr/>
            <p:nvPr userDrawn="1"/>
          </p:nvGrpSpPr>
          <p:grpSpPr>
            <a:xfrm>
              <a:off x="870898" y="1417340"/>
              <a:ext cx="679299" cy="1061162"/>
              <a:chOff x="870898" y="1417340"/>
              <a:chExt cx="679299" cy="1061162"/>
            </a:xfrm>
            <a:solidFill>
              <a:schemeClr val="accent4"/>
            </a:solidFill>
          </p:grpSpPr>
          <p:sp>
            <p:nvSpPr>
              <p:cNvPr id="51" name="Rechteck 50">
                <a:extLst>
                  <a:ext uri="{FF2B5EF4-FFF2-40B4-BE49-F238E27FC236}">
                    <a16:creationId xmlns:a16="http://schemas.microsoft.com/office/drawing/2014/main" id="{671931D9-EAE3-F2AC-9776-36B40010B48C}"/>
                  </a:ext>
                </a:extLst>
              </p:cNvPr>
              <p:cNvSpPr/>
              <p:nvPr userDrawn="1"/>
            </p:nvSpPr>
            <p:spPr>
              <a:xfrm>
                <a:off x="870898" y="1417340"/>
                <a:ext cx="679299" cy="796468"/>
              </a:xfrm>
              <a:prstGeom prst="rect">
                <a:avLst/>
              </a:prstGeom>
              <a:solidFill>
                <a:srgbClr val="CCF4E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2" name="Dreieck 51">
                <a:extLst>
                  <a:ext uri="{FF2B5EF4-FFF2-40B4-BE49-F238E27FC236}">
                    <a16:creationId xmlns:a16="http://schemas.microsoft.com/office/drawing/2014/main" id="{1CF3BC28-3916-F2CB-BEA3-8DC6873E762D}"/>
                  </a:ext>
                </a:extLst>
              </p:cNvPr>
              <p:cNvSpPr/>
              <p:nvPr userDrawn="1"/>
            </p:nvSpPr>
            <p:spPr>
              <a:xfrm rot="10800000">
                <a:off x="871119" y="2213807"/>
                <a:ext cx="679078" cy="264695"/>
              </a:xfrm>
              <a:prstGeom prst="triangle">
                <a:avLst/>
              </a:prstGeom>
              <a:solidFill>
                <a:srgbClr val="CCF4E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50" name="Rechtwinkliges Dreieck 49">
              <a:extLst>
                <a:ext uri="{FF2B5EF4-FFF2-40B4-BE49-F238E27FC236}">
                  <a16:creationId xmlns:a16="http://schemas.microsoft.com/office/drawing/2014/main" id="{D062ECE8-A0A1-EDE3-C4D8-D7634AF56790}"/>
                </a:ext>
              </a:extLst>
            </p:cNvPr>
            <p:cNvSpPr/>
            <p:nvPr userDrawn="1"/>
          </p:nvSpPr>
          <p:spPr>
            <a:xfrm>
              <a:off x="1550197" y="1412065"/>
              <a:ext cx="112315" cy="161137"/>
            </a:xfrm>
            <a:prstGeom prst="rtTriangle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3" name="Textplatzhalter 25">
            <a:extLst>
              <a:ext uri="{FF2B5EF4-FFF2-40B4-BE49-F238E27FC236}">
                <a16:creationId xmlns:a16="http://schemas.microsoft.com/office/drawing/2014/main" id="{C3A4C9F4-625A-EA47-14EF-7C8E1B3547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42252" y="2849359"/>
            <a:ext cx="1327901" cy="2054816"/>
          </a:xfrm>
        </p:spPr>
        <p:txBody>
          <a:bodyPr lIns="0" tIns="0" rIns="0" bIns="0" numCol="1" spcCol="540000">
            <a:noAutofit/>
          </a:bodyPr>
          <a:lstStyle>
            <a:lvl1pPr marL="0" marR="0" indent="0" algn="l" defTabSz="68564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Hier kann ein Text stehen</a:t>
            </a:r>
          </a:p>
        </p:txBody>
      </p:sp>
      <p:sp>
        <p:nvSpPr>
          <p:cNvPr id="54" name="Textplatzhalter 25">
            <a:extLst>
              <a:ext uri="{FF2B5EF4-FFF2-40B4-BE49-F238E27FC236}">
                <a16:creationId xmlns:a16="http://schemas.microsoft.com/office/drawing/2014/main" id="{61F7AB0D-187C-36BE-14AE-D31D02A89A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81900" y="2849358"/>
            <a:ext cx="1327901" cy="2056017"/>
          </a:xfrm>
        </p:spPr>
        <p:txBody>
          <a:bodyPr lIns="0" tIns="0" rIns="0" bIns="0" numCol="1" spcCol="540000">
            <a:noAutofit/>
          </a:bodyPr>
          <a:lstStyle>
            <a:lvl1pPr marL="0" marR="0" indent="0" algn="l" defTabSz="68564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Hier kann ein Text stehen</a:t>
            </a:r>
          </a:p>
        </p:txBody>
      </p:sp>
      <p:sp>
        <p:nvSpPr>
          <p:cNvPr id="55" name="Textplatzhalter 25">
            <a:extLst>
              <a:ext uri="{FF2B5EF4-FFF2-40B4-BE49-F238E27FC236}">
                <a16:creationId xmlns:a16="http://schemas.microsoft.com/office/drawing/2014/main" id="{2973D9C3-223E-1AA1-A4AE-9E61ADC093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13158" y="2849359"/>
            <a:ext cx="1327901" cy="2054816"/>
          </a:xfrm>
        </p:spPr>
        <p:txBody>
          <a:bodyPr lIns="0" tIns="0" rIns="0" bIns="0" numCol="1" spcCol="540000">
            <a:noAutofit/>
          </a:bodyPr>
          <a:lstStyle>
            <a:lvl1pPr marL="0" marR="0" indent="0" algn="l" defTabSz="68564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Hier kann ein Text stehen</a:t>
            </a:r>
          </a:p>
        </p:txBody>
      </p:sp>
      <p:sp>
        <p:nvSpPr>
          <p:cNvPr id="56" name="Textplatzhalter 25">
            <a:extLst>
              <a:ext uri="{FF2B5EF4-FFF2-40B4-BE49-F238E27FC236}">
                <a16:creationId xmlns:a16="http://schemas.microsoft.com/office/drawing/2014/main" id="{FA0426BD-55C6-E2C8-788F-5CA89B4806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3088" y="2849358"/>
            <a:ext cx="1327901" cy="2056017"/>
          </a:xfrm>
        </p:spPr>
        <p:txBody>
          <a:bodyPr lIns="0" tIns="0" rIns="0" bIns="0" numCol="1" spcCol="540000">
            <a:noAutofit/>
          </a:bodyPr>
          <a:lstStyle>
            <a:lvl1pPr marL="0" marR="0" indent="0" algn="l" defTabSz="68564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Hier kann ein Text stehen</a:t>
            </a:r>
          </a:p>
        </p:txBody>
      </p:sp>
      <p:sp>
        <p:nvSpPr>
          <p:cNvPr id="57" name="Title Placeholder 1">
            <a:extLst>
              <a:ext uri="{FF2B5EF4-FFF2-40B4-BE49-F238E27FC236}">
                <a16:creationId xmlns:a16="http://schemas.microsoft.com/office/drawing/2014/main" id="{B976F542-B1E2-54B7-E93D-38D3AD4E1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83891"/>
            <a:ext cx="7596451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58" name="Titel 19">
            <a:extLst>
              <a:ext uri="{FF2B5EF4-FFF2-40B4-BE49-F238E27FC236}">
                <a16:creationId xmlns:a16="http://schemas.microsoft.com/office/drawing/2014/main" id="{6463E4C3-69CE-99D3-DA1C-AF87C2260B59}"/>
              </a:ext>
            </a:extLst>
          </p:cNvPr>
          <p:cNvSpPr txBox="1">
            <a:spLocks/>
          </p:cNvSpPr>
          <p:nvPr userDrawn="1"/>
        </p:nvSpPr>
        <p:spPr>
          <a:xfrm>
            <a:off x="880086" y="1834774"/>
            <a:ext cx="679299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Rajdhani" panose="02000000000000000000" pitchFamily="2" charset="77"/>
                <a:ea typeface="+mj-ea"/>
                <a:cs typeface="Rajdhani" panose="02000000000000000000" pitchFamily="2" charset="77"/>
              </a:defRPr>
            </a:lvl1pPr>
          </a:lstStyle>
          <a:p>
            <a:pPr algn="ctr"/>
            <a:r>
              <a:rPr lang="de-DE" dirty="0">
                <a:solidFill>
                  <a:srgbClr val="000000"/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01</a:t>
            </a:r>
          </a:p>
        </p:txBody>
      </p:sp>
      <p:sp>
        <p:nvSpPr>
          <p:cNvPr id="59" name="Titel 19">
            <a:extLst>
              <a:ext uri="{FF2B5EF4-FFF2-40B4-BE49-F238E27FC236}">
                <a16:creationId xmlns:a16="http://schemas.microsoft.com/office/drawing/2014/main" id="{0EA8666B-0E06-880B-DAC3-DBFD0B13CD9B}"/>
              </a:ext>
            </a:extLst>
          </p:cNvPr>
          <p:cNvSpPr txBox="1">
            <a:spLocks/>
          </p:cNvSpPr>
          <p:nvPr userDrawn="1"/>
        </p:nvSpPr>
        <p:spPr>
          <a:xfrm>
            <a:off x="2432050" y="1834774"/>
            <a:ext cx="679299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Rajdhani" panose="02000000000000000000" pitchFamily="2" charset="77"/>
                <a:ea typeface="+mj-ea"/>
                <a:cs typeface="Rajdhani" panose="02000000000000000000" pitchFamily="2" charset="77"/>
              </a:defRPr>
            </a:lvl1pPr>
          </a:lstStyle>
          <a:p>
            <a:pPr algn="ctr"/>
            <a:r>
              <a:rPr lang="de-DE" dirty="0">
                <a:solidFill>
                  <a:srgbClr val="000000"/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02</a:t>
            </a:r>
          </a:p>
        </p:txBody>
      </p:sp>
      <p:sp>
        <p:nvSpPr>
          <p:cNvPr id="60" name="Titel 19">
            <a:extLst>
              <a:ext uri="{FF2B5EF4-FFF2-40B4-BE49-F238E27FC236}">
                <a16:creationId xmlns:a16="http://schemas.microsoft.com/office/drawing/2014/main" id="{326DB026-6FD6-8D31-8976-3CF8433C2361}"/>
              </a:ext>
            </a:extLst>
          </p:cNvPr>
          <p:cNvSpPr txBox="1">
            <a:spLocks/>
          </p:cNvSpPr>
          <p:nvPr userDrawn="1"/>
        </p:nvSpPr>
        <p:spPr>
          <a:xfrm>
            <a:off x="4000791" y="1834774"/>
            <a:ext cx="679299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Rajdhani" panose="02000000000000000000" pitchFamily="2" charset="77"/>
                <a:ea typeface="+mj-ea"/>
                <a:cs typeface="Rajdhani" panose="02000000000000000000" pitchFamily="2" charset="77"/>
              </a:defRPr>
            </a:lvl1pPr>
          </a:lstStyle>
          <a:p>
            <a:pPr algn="ctr"/>
            <a:r>
              <a:rPr lang="de-DE" dirty="0">
                <a:solidFill>
                  <a:srgbClr val="000000"/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03</a:t>
            </a:r>
          </a:p>
        </p:txBody>
      </p:sp>
      <p:sp>
        <p:nvSpPr>
          <p:cNvPr id="61" name="Titel 19">
            <a:extLst>
              <a:ext uri="{FF2B5EF4-FFF2-40B4-BE49-F238E27FC236}">
                <a16:creationId xmlns:a16="http://schemas.microsoft.com/office/drawing/2014/main" id="{7FFDDD5B-72AE-5AE9-E631-AA492E7AE0FE}"/>
              </a:ext>
            </a:extLst>
          </p:cNvPr>
          <p:cNvSpPr txBox="1">
            <a:spLocks/>
          </p:cNvSpPr>
          <p:nvPr userDrawn="1"/>
        </p:nvSpPr>
        <p:spPr>
          <a:xfrm>
            <a:off x="5561143" y="1834774"/>
            <a:ext cx="679299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Rajdhani" panose="02000000000000000000" pitchFamily="2" charset="77"/>
                <a:ea typeface="+mj-ea"/>
                <a:cs typeface="Rajdhani" panose="02000000000000000000" pitchFamily="2" charset="77"/>
              </a:defRPr>
            </a:lvl1pPr>
          </a:lstStyle>
          <a:p>
            <a:pPr algn="ctr"/>
            <a:r>
              <a:rPr lang="de-DE" dirty="0">
                <a:solidFill>
                  <a:srgbClr val="000000"/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04</a:t>
            </a:r>
          </a:p>
        </p:txBody>
      </p:sp>
      <p:sp>
        <p:nvSpPr>
          <p:cNvPr id="62" name="Titel 19">
            <a:extLst>
              <a:ext uri="{FF2B5EF4-FFF2-40B4-BE49-F238E27FC236}">
                <a16:creationId xmlns:a16="http://schemas.microsoft.com/office/drawing/2014/main" id="{85F8C3F7-E745-067A-E6AC-9CC8EC52FC7F}"/>
              </a:ext>
            </a:extLst>
          </p:cNvPr>
          <p:cNvSpPr txBox="1">
            <a:spLocks/>
          </p:cNvSpPr>
          <p:nvPr userDrawn="1"/>
        </p:nvSpPr>
        <p:spPr>
          <a:xfrm>
            <a:off x="7072313" y="1834774"/>
            <a:ext cx="679299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Rajdhani" panose="02000000000000000000" pitchFamily="2" charset="77"/>
                <a:ea typeface="+mj-ea"/>
                <a:cs typeface="Rajdhani" panose="02000000000000000000" pitchFamily="2" charset="77"/>
              </a:defRPr>
            </a:lvl1pPr>
          </a:lstStyle>
          <a:p>
            <a:pPr algn="ctr"/>
            <a:r>
              <a:rPr lang="de-DE" dirty="0">
                <a:solidFill>
                  <a:srgbClr val="000000"/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05</a:t>
            </a:r>
          </a:p>
        </p:txBody>
      </p:sp>
      <p:sp>
        <p:nvSpPr>
          <p:cNvPr id="66" name="Datumsplatzhalter 17">
            <a:extLst>
              <a:ext uri="{FF2B5EF4-FFF2-40B4-BE49-F238E27FC236}">
                <a16:creationId xmlns:a16="http://schemas.microsoft.com/office/drawing/2014/main" id="{2866F448-206C-E1BB-5A85-54A6A705DAA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151999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D2DB9661-A0CC-42E4-8800-CEF131406C50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63" name="Date Placeholder 3">
            <a:extLst>
              <a:ext uri="{FF2B5EF4-FFF2-40B4-BE49-F238E27FC236}">
                <a16:creationId xmlns:a16="http://schemas.microsoft.com/office/drawing/2014/main" id="{BE3A6A37-D043-0B25-9585-4763191EBBBA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1D27059-8282-A774-284C-AE8FF62A41A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8840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6535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42B6F27F-14A5-9AF7-6009-D253944D2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1" y="1573212"/>
            <a:ext cx="2846708" cy="3332161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0E6DBD0C-D764-D95D-8F2F-ED1B38FAB9E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716323" y="1573213"/>
            <a:ext cx="4463566" cy="2570162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27" name="Textplatzhalter 25">
            <a:extLst>
              <a:ext uri="{FF2B5EF4-FFF2-40B4-BE49-F238E27FC236}">
                <a16:creationId xmlns:a16="http://schemas.microsoft.com/office/drawing/2014/main" id="{092BB530-B4AA-FCAA-CA96-0330E7571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6322" y="4296920"/>
            <a:ext cx="4463565" cy="608451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 b="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9A40B3B3-6D1E-BBF6-6A45-EBB0C1DCF5AC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E594614F-3DC1-4A47-812C-1C08E91DE3E7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4D6DFD1-D25A-9201-C223-3846DD48C4A2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85DB43E-67E4-5355-DC31-FCD4345F3D4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180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+ Diagramm +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6535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42B6F27F-14A5-9AF7-6009-D253944D2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1" y="1573212"/>
            <a:ext cx="2846708" cy="3332161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0E6DBD0C-D764-D95D-8F2F-ED1B38FAB9E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716323" y="1573213"/>
            <a:ext cx="4463566" cy="2570162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27" name="Textplatzhalter 25">
            <a:extLst>
              <a:ext uri="{FF2B5EF4-FFF2-40B4-BE49-F238E27FC236}">
                <a16:creationId xmlns:a16="http://schemas.microsoft.com/office/drawing/2014/main" id="{092BB530-B4AA-FCAA-CA96-0330E7571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6322" y="4333875"/>
            <a:ext cx="4463565" cy="57149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 b="1">
                <a:solidFill>
                  <a:schemeClr val="tx1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Ein Fazit wird in fett und blau eingefügt</a:t>
            </a:r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9A40B3B3-6D1E-BBF6-6A45-EBB0C1DCF5AC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D6FD602A-4B0F-4FF8-8B4A-1E3DCF54B448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4D6DFD1-D25A-9201-C223-3846DD48C4A2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85DB43E-67E4-5355-DC31-FCD4345F3D4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0946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Diagramm +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6535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42B6F27F-14A5-9AF7-6009-D253944D2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1" y="1573212"/>
            <a:ext cx="2846708" cy="3332161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0E6DBD0C-D764-D95D-8F2F-ED1B38FAB9E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716323" y="1573213"/>
            <a:ext cx="4463566" cy="2570162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27" name="Textplatzhalter 25">
            <a:extLst>
              <a:ext uri="{FF2B5EF4-FFF2-40B4-BE49-F238E27FC236}">
                <a16:creationId xmlns:a16="http://schemas.microsoft.com/office/drawing/2014/main" id="{092BB530-B4AA-FCAA-CA96-0330E7571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6322" y="4333875"/>
            <a:ext cx="4463565" cy="57149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 b="0">
                <a:solidFill>
                  <a:srgbClr val="777776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e Quellangabe und Co. stehen </a:t>
            </a:r>
          </a:p>
          <a:p>
            <a:pPr lvl="0"/>
            <a:endParaRPr lang="de-DE" dirty="0"/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9A40B3B3-6D1E-BBF6-6A45-EBB0C1DCF5AC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277B21BF-EEA2-4056-BF55-D9936F6C7103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4D6DFD1-D25A-9201-C223-3846DD48C4A2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85DB43E-67E4-5355-DC31-FCD4345F3D4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8005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5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42B6F27F-14A5-9AF7-6009-D253944D2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3"/>
            <a:ext cx="3714278" cy="3332162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0E6DBD0C-D764-D95D-8F2F-ED1B38FAB9E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571999" y="1573212"/>
            <a:ext cx="2407641" cy="3332147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27" name="Textplatzhalter 25">
            <a:extLst>
              <a:ext uri="{FF2B5EF4-FFF2-40B4-BE49-F238E27FC236}">
                <a16:creationId xmlns:a16="http://schemas.microsoft.com/office/drawing/2014/main" id="{092BB530-B4AA-FCAA-CA96-0330E7571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56884" y="1563846"/>
            <a:ext cx="1023005" cy="3341681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892B3377-150D-1898-0A6B-04DE571C209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8156E948-39FE-4E97-B91E-3E96DD21E361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EF41669D-6087-C2D7-0727-DF67E52D66B4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29EF101-F3B8-2907-AE29-6E239517E6E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7329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+ Diagramm +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5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42B6F27F-14A5-9AF7-6009-D253944D2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3"/>
            <a:ext cx="3714278" cy="3332162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0E6DBD0C-D764-D95D-8F2F-ED1B38FAB9E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571999" y="1573212"/>
            <a:ext cx="2407641" cy="3332147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27" name="Textplatzhalter 25">
            <a:extLst>
              <a:ext uri="{FF2B5EF4-FFF2-40B4-BE49-F238E27FC236}">
                <a16:creationId xmlns:a16="http://schemas.microsoft.com/office/drawing/2014/main" id="{092BB530-B4AA-FCAA-CA96-0330E7571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314" y="1563846"/>
            <a:ext cx="1107576" cy="3341681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 b="1">
                <a:solidFill>
                  <a:schemeClr val="tx1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Fazit / Kommentar stehen</a:t>
            </a:r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892B3377-150D-1898-0A6B-04DE571C209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1EE57B77-4E8E-412C-AA88-6AEAF512F3B7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EF41669D-6087-C2D7-0727-DF67E52D66B4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29EF101-F3B8-2907-AE29-6E239517E6E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69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+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8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42B6F27F-14A5-9AF7-6009-D253944D2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4"/>
            <a:ext cx="3714278" cy="190230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0E6DBD0C-D764-D95D-8F2F-ED1B38FAB9E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571999" y="1573212"/>
            <a:ext cx="2407641" cy="3332162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27" name="Textplatzhalter 25">
            <a:extLst>
              <a:ext uri="{FF2B5EF4-FFF2-40B4-BE49-F238E27FC236}">
                <a16:creationId xmlns:a16="http://schemas.microsoft.com/office/drawing/2014/main" id="{092BB530-B4AA-FCAA-CA96-0330E7571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314" y="1563846"/>
            <a:ext cx="1107576" cy="3341697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28" name="Textplatzhalter 25">
            <a:extLst>
              <a:ext uri="{FF2B5EF4-FFF2-40B4-BE49-F238E27FC236}">
                <a16:creationId xmlns:a16="http://schemas.microsoft.com/office/drawing/2014/main" id="{FCF0D787-EC27-86D1-1998-A1E3FB046C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1846" y="3654906"/>
            <a:ext cx="1860204" cy="547087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</a:t>
            </a:r>
          </a:p>
        </p:txBody>
      </p:sp>
      <p:sp>
        <p:nvSpPr>
          <p:cNvPr id="31" name="Textplatzhalter 25">
            <a:extLst>
              <a:ext uri="{FF2B5EF4-FFF2-40B4-BE49-F238E27FC236}">
                <a16:creationId xmlns:a16="http://schemas.microsoft.com/office/drawing/2014/main" id="{EB75A0AF-2F00-4262-F023-D451A0914F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1846" y="4358290"/>
            <a:ext cx="1860204" cy="547087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</a:t>
            </a:r>
          </a:p>
        </p:txBody>
      </p:sp>
      <p:sp>
        <p:nvSpPr>
          <p:cNvPr id="35" name="Datumsplatzhalter 17">
            <a:extLst>
              <a:ext uri="{FF2B5EF4-FFF2-40B4-BE49-F238E27FC236}">
                <a16:creationId xmlns:a16="http://schemas.microsoft.com/office/drawing/2014/main" id="{E629B789-5B04-113D-72B4-CD10273B0517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4F8E8EC7-BF0B-46BE-82A7-7C0F18D11016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A4F3C59A-3188-A2C7-6CC4-82DDE85D7958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830B8B-21E0-573C-3AA3-AC9DD6D597C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2392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D5946372-7B0D-4157-2D60-FE3CDA99CE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3524" y="287463"/>
            <a:ext cx="1096314" cy="681115"/>
          </a:xfrm>
          <a:prstGeom prst="rect">
            <a:avLst/>
          </a:prstGeom>
        </p:spPr>
      </p:pic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E76B2A2E-8E2A-EC5E-7769-3D98F5B6D1ED}"/>
              </a:ext>
            </a:extLst>
          </p:cNvPr>
          <p:cNvCxnSpPr>
            <a:cxnSpLocks/>
          </p:cNvCxnSpPr>
          <p:nvPr userDrawn="1"/>
        </p:nvCxnSpPr>
        <p:spPr>
          <a:xfrm>
            <a:off x="573088" y="5197475"/>
            <a:ext cx="709525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66C50B4-105A-FF81-099B-F8C575C23576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BA0EDADD-2BF7-0659-C00E-D9E6205DD94E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2943BA35-1817-C199-DEDE-24C98FDFC036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39" name="Subtitle 2">
            <a:extLst>
              <a:ext uri="{FF2B5EF4-FFF2-40B4-BE49-F238E27FC236}">
                <a16:creationId xmlns:a16="http://schemas.microsoft.com/office/drawing/2014/main" id="{66FC8438-9C8A-3672-78E9-3573BEEF88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32050" y="2769948"/>
            <a:ext cx="4639298" cy="766877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1950"/>
              </a:lnSpc>
              <a:spcBef>
                <a:spcPts val="0"/>
              </a:spcBef>
              <a:buNone/>
              <a:defRPr sz="1600"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 algn="ctr">
              <a:buNone/>
              <a:defRPr sz="1500"/>
            </a:lvl2pPr>
            <a:lvl3pPr marL="685640" indent="0" algn="ctr">
              <a:buNone/>
              <a:defRPr sz="1350"/>
            </a:lvl3pPr>
            <a:lvl4pPr marL="1028460" indent="0" algn="ctr">
              <a:buNone/>
              <a:defRPr sz="1200"/>
            </a:lvl4pPr>
            <a:lvl5pPr marL="1371280" indent="0" algn="ctr">
              <a:buNone/>
              <a:defRPr sz="1200"/>
            </a:lvl5pPr>
            <a:lvl6pPr marL="1714100" indent="0" algn="ctr">
              <a:buNone/>
              <a:defRPr sz="1200"/>
            </a:lvl6pPr>
            <a:lvl7pPr marL="2056920" indent="0" algn="ctr">
              <a:buNone/>
              <a:defRPr sz="1200"/>
            </a:lvl7pPr>
            <a:lvl8pPr marL="2399740" indent="0" algn="ctr">
              <a:buNone/>
              <a:defRPr sz="1200"/>
            </a:lvl8pPr>
            <a:lvl9pPr marL="2742560" indent="0" algn="ctr">
              <a:buNone/>
              <a:defRPr sz="1200"/>
            </a:lvl9pPr>
          </a:lstStyle>
          <a:p>
            <a:r>
              <a:rPr lang="de-DE" dirty="0"/>
              <a:t>Master-Untertitelformat bearbeiten </a:t>
            </a:r>
            <a:r>
              <a:rPr lang="de-DE" dirty="0" err="1"/>
              <a:t>Tamqua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etur</a:t>
            </a:r>
            <a:r>
              <a:rPr lang="de-DE" dirty="0"/>
              <a:t> Nam laut </a:t>
            </a:r>
            <a:r>
              <a:rPr lang="de-DE" dirty="0" err="1"/>
              <a:t>Agnatio</a:t>
            </a:r>
            <a:r>
              <a:rPr lang="de-DE" dirty="0"/>
              <a:t>.</a:t>
            </a:r>
          </a:p>
          <a:p>
            <a:endParaRPr lang="en-US" dirty="0"/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55F6D15A-83E8-772B-00B6-48F09CAE8A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3015" y="1581949"/>
            <a:ext cx="4639298" cy="1102866"/>
          </a:xfrm>
        </p:spPr>
        <p:txBody>
          <a:bodyPr>
            <a:sp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pPr marL="0" marR="0" lvl="0" indent="0" algn="l" defTabSz="68564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None/>
              <a:tabLst/>
            </a:pPr>
            <a:r>
              <a:rPr lang="de-DE" dirty="0"/>
              <a:t>Intro Master </a:t>
            </a:r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Der </a:t>
            </a:r>
            <a:r>
              <a:rPr lang="de-DE" dirty="0" err="1"/>
              <a:t>libero</a:t>
            </a:r>
            <a:r>
              <a:rPr lang="de-DE" dirty="0"/>
              <a:t>, bearbeiten</a:t>
            </a:r>
          </a:p>
        </p:txBody>
      </p:sp>
      <p:sp>
        <p:nvSpPr>
          <p:cNvPr id="21" name="Datumsplatzhalter 17">
            <a:extLst>
              <a:ext uri="{FF2B5EF4-FFF2-40B4-BE49-F238E27FC236}">
                <a16:creationId xmlns:a16="http://schemas.microsoft.com/office/drawing/2014/main" id="{26387F74-C078-52F7-1722-A3F8DDB68A2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152000" y="5374800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6788288C-40D2-4237-B39A-9AA25DEDE1D8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7FB80202-DB7E-AC5B-AFA9-0180805A5CE7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</p:spTree>
    <p:extLst>
      <p:ext uri="{BB962C8B-B14F-4D97-AF65-F5344CB8AC3E}">
        <p14:creationId xmlns:p14="http://schemas.microsoft.com/office/powerpoint/2010/main" val="557740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ktogramm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43837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34" name="Textplatzhalter 25">
            <a:extLst>
              <a:ext uri="{FF2B5EF4-FFF2-40B4-BE49-F238E27FC236}">
                <a16:creationId xmlns:a16="http://schemas.microsoft.com/office/drawing/2014/main" id="{D4C6285A-E0D6-2087-AE54-96B8ABEEEB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2633" y="2871829"/>
            <a:ext cx="1565796" cy="201727"/>
          </a:xfrm>
        </p:spPr>
        <p:txBody>
          <a:bodyPr lIns="0" tIns="0" rIns="0" bIns="0" numCol="1" spcCol="540000">
            <a:normAutofit/>
          </a:bodyPr>
          <a:lstStyle>
            <a:lvl1pPr marL="0" marR="0" indent="0" algn="l" defTabSz="685640" rtl="0" eaLnBrk="1" fontAlgn="auto" latinLnBrk="0" hangingPunct="1">
              <a:lnSpc>
                <a:spcPts val="1593"/>
              </a:lnSpc>
              <a:spcBef>
                <a:spcPts val="75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200" b="1" i="0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9" name="Textplatzhalter 25">
            <a:extLst>
              <a:ext uri="{FF2B5EF4-FFF2-40B4-BE49-F238E27FC236}">
                <a16:creationId xmlns:a16="http://schemas.microsoft.com/office/drawing/2014/main" id="{B3FF257F-DF4D-16DE-C741-9CF47C8A9E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632" y="3163243"/>
            <a:ext cx="1565796" cy="1742132"/>
          </a:xfrm>
        </p:spPr>
        <p:txBody>
          <a:bodyPr lIns="0">
            <a:normAutofit/>
          </a:bodyPr>
          <a:lstStyle>
            <a:lvl1pPr marL="192856" marR="0" indent="-192856" algn="l" defTabSz="68564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sz="120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Aufzählung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BE5EF0F-FD26-3584-768F-93C053838A0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4872" y="1711688"/>
            <a:ext cx="904538" cy="928734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5" name="Textplatzhalter 25">
            <a:extLst>
              <a:ext uri="{FF2B5EF4-FFF2-40B4-BE49-F238E27FC236}">
                <a16:creationId xmlns:a16="http://schemas.microsoft.com/office/drawing/2014/main" id="{772424E2-58C5-B888-D068-F1F503B0E53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80018" y="2871829"/>
            <a:ext cx="1565796" cy="201727"/>
          </a:xfrm>
        </p:spPr>
        <p:txBody>
          <a:bodyPr lIns="0" tIns="0" rIns="0" bIns="0" numCol="1" spcCol="540000">
            <a:normAutofit/>
          </a:bodyPr>
          <a:lstStyle>
            <a:lvl1pPr marL="0" marR="0" indent="0" algn="l" defTabSz="685640" rtl="0" eaLnBrk="1" fontAlgn="auto" latinLnBrk="0" hangingPunct="1">
              <a:lnSpc>
                <a:spcPts val="1593"/>
              </a:lnSpc>
              <a:spcBef>
                <a:spcPts val="75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200" b="1" i="0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6" name="Textplatzhalter 25">
            <a:extLst>
              <a:ext uri="{FF2B5EF4-FFF2-40B4-BE49-F238E27FC236}">
                <a16:creationId xmlns:a16="http://schemas.microsoft.com/office/drawing/2014/main" id="{92C887A8-0C31-6103-733F-FBEBB4EE959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80017" y="3163243"/>
            <a:ext cx="1565796" cy="1742132"/>
          </a:xfrm>
        </p:spPr>
        <p:txBody>
          <a:bodyPr lIns="0">
            <a:normAutofit/>
          </a:bodyPr>
          <a:lstStyle>
            <a:lvl1pPr marL="192856" marR="0" indent="-192856" algn="l" defTabSz="68564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sz="120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Aufzählung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57" name="Bildplatzhalter 5">
            <a:extLst>
              <a:ext uri="{FF2B5EF4-FFF2-40B4-BE49-F238E27FC236}">
                <a16:creationId xmlns:a16="http://schemas.microsoft.com/office/drawing/2014/main" id="{4164B346-2880-B305-412B-9DC95010BF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02257" y="1711688"/>
            <a:ext cx="904538" cy="928734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8" name="Textplatzhalter 25">
            <a:extLst>
              <a:ext uri="{FF2B5EF4-FFF2-40B4-BE49-F238E27FC236}">
                <a16:creationId xmlns:a16="http://schemas.microsoft.com/office/drawing/2014/main" id="{559E3861-C673-A4BE-DC98-59EE6D2F58E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77403" y="2871829"/>
            <a:ext cx="1565796" cy="201727"/>
          </a:xfrm>
        </p:spPr>
        <p:txBody>
          <a:bodyPr lIns="0" tIns="0" rIns="0" bIns="0" numCol="1" spcCol="540000">
            <a:normAutofit/>
          </a:bodyPr>
          <a:lstStyle>
            <a:lvl1pPr marL="0" marR="0" indent="0" algn="l" defTabSz="685640" rtl="0" eaLnBrk="1" fontAlgn="auto" latinLnBrk="0" hangingPunct="1">
              <a:lnSpc>
                <a:spcPts val="1593"/>
              </a:lnSpc>
              <a:spcBef>
                <a:spcPts val="75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200" b="1" i="0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9" name="Textplatzhalter 25">
            <a:extLst>
              <a:ext uri="{FF2B5EF4-FFF2-40B4-BE49-F238E27FC236}">
                <a16:creationId xmlns:a16="http://schemas.microsoft.com/office/drawing/2014/main" id="{C3607026-CC92-8C88-79A3-335F34FA414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77402" y="3163243"/>
            <a:ext cx="1565796" cy="1742132"/>
          </a:xfrm>
        </p:spPr>
        <p:txBody>
          <a:bodyPr lIns="0">
            <a:normAutofit/>
          </a:bodyPr>
          <a:lstStyle>
            <a:lvl1pPr marL="192856" marR="0" indent="-192856" algn="l" defTabSz="68564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sz="120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Aufzählung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60" name="Bildplatzhalter 5">
            <a:extLst>
              <a:ext uri="{FF2B5EF4-FFF2-40B4-BE49-F238E27FC236}">
                <a16:creationId xmlns:a16="http://schemas.microsoft.com/office/drawing/2014/main" id="{73D156A0-9BEB-F812-A311-5EEECDB624F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899642" y="1711688"/>
            <a:ext cx="904538" cy="928734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1" name="Textplatzhalter 25">
            <a:extLst>
              <a:ext uri="{FF2B5EF4-FFF2-40B4-BE49-F238E27FC236}">
                <a16:creationId xmlns:a16="http://schemas.microsoft.com/office/drawing/2014/main" id="{02E881C0-81DC-8494-5A83-8565BFE6952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563984" y="2871829"/>
            <a:ext cx="1565796" cy="201727"/>
          </a:xfrm>
        </p:spPr>
        <p:txBody>
          <a:bodyPr lIns="0" tIns="0" rIns="0" bIns="0" numCol="1" spcCol="540000">
            <a:normAutofit/>
          </a:bodyPr>
          <a:lstStyle>
            <a:lvl1pPr marL="0" marR="0" indent="0" algn="l" defTabSz="685640" rtl="0" eaLnBrk="1" fontAlgn="auto" latinLnBrk="0" hangingPunct="1">
              <a:lnSpc>
                <a:spcPts val="1593"/>
              </a:lnSpc>
              <a:spcBef>
                <a:spcPts val="75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200" b="1" i="0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2" name="Textplatzhalter 25">
            <a:extLst>
              <a:ext uri="{FF2B5EF4-FFF2-40B4-BE49-F238E27FC236}">
                <a16:creationId xmlns:a16="http://schemas.microsoft.com/office/drawing/2014/main" id="{A2ABF6ED-A424-CAC7-C2D4-899E9627DE8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563983" y="3163243"/>
            <a:ext cx="1565796" cy="1742132"/>
          </a:xfrm>
        </p:spPr>
        <p:txBody>
          <a:bodyPr lIns="0">
            <a:normAutofit/>
          </a:bodyPr>
          <a:lstStyle>
            <a:lvl1pPr marL="192856" marR="0" indent="-192856" algn="l" defTabSz="68564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sz="120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Aufzählung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63" name="Bildplatzhalter 5">
            <a:extLst>
              <a:ext uri="{FF2B5EF4-FFF2-40B4-BE49-F238E27FC236}">
                <a16:creationId xmlns:a16="http://schemas.microsoft.com/office/drawing/2014/main" id="{00446F45-6EEF-D06C-BF9A-812A4DFA583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886223" y="1711688"/>
            <a:ext cx="904538" cy="928734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3" name="Datumsplatzhalter 17">
            <a:extLst>
              <a:ext uri="{FF2B5EF4-FFF2-40B4-BE49-F238E27FC236}">
                <a16:creationId xmlns:a16="http://schemas.microsoft.com/office/drawing/2014/main" id="{6DAE2C64-CEC1-F9A2-EC50-D7FBA2F75FDB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82F5794A-5254-45A5-BAEC-6063A171D8A0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F4BAEA9B-42A0-0DFC-6BB3-36A65EB3EC65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86D1CB-751C-A523-63EE-3FCAD07EF93D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089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7E1C5C9-D7C8-E9F8-F5D6-1BD614EDC0CA}"/>
              </a:ext>
            </a:extLst>
          </p:cNvPr>
          <p:cNvGrpSpPr/>
          <p:nvPr userDrawn="1"/>
        </p:nvGrpSpPr>
        <p:grpSpPr>
          <a:xfrm>
            <a:off x="1757887" y="1721595"/>
            <a:ext cx="1748711" cy="2277962"/>
            <a:chOff x="1757887" y="1729411"/>
            <a:chExt cx="1748711" cy="227796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B79E652-7DB0-DFB2-6126-0B0E6BFB7927}"/>
                </a:ext>
              </a:extLst>
            </p:cNvPr>
            <p:cNvSpPr/>
            <p:nvPr userDrawn="1"/>
          </p:nvSpPr>
          <p:spPr>
            <a:xfrm>
              <a:off x="1757887" y="1998560"/>
              <a:ext cx="1748711" cy="169747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7" name="Dreieck 6">
              <a:extLst>
                <a:ext uri="{FF2B5EF4-FFF2-40B4-BE49-F238E27FC236}">
                  <a16:creationId xmlns:a16="http://schemas.microsoft.com/office/drawing/2014/main" id="{C817472C-0A47-873C-342F-0B6832881151}"/>
                </a:ext>
              </a:extLst>
            </p:cNvPr>
            <p:cNvSpPr/>
            <p:nvPr userDrawn="1"/>
          </p:nvSpPr>
          <p:spPr>
            <a:xfrm rot="10800000">
              <a:off x="2434722" y="3693382"/>
              <a:ext cx="395040" cy="313991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8AF1259-04B3-E740-34DD-C2B9CF8D6CCA}"/>
                </a:ext>
              </a:extLst>
            </p:cNvPr>
            <p:cNvSpPr/>
            <p:nvPr userDrawn="1"/>
          </p:nvSpPr>
          <p:spPr>
            <a:xfrm>
              <a:off x="2368957" y="1729411"/>
              <a:ext cx="527965" cy="527965"/>
            </a:xfrm>
            <a:prstGeom prst="ellipse">
              <a:avLst/>
            </a:prstGeom>
            <a:solidFill>
              <a:srgbClr val="809ED1"/>
            </a:solidFill>
            <a:ln w="317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Titel 19">
              <a:extLst>
                <a:ext uri="{FF2B5EF4-FFF2-40B4-BE49-F238E27FC236}">
                  <a16:creationId xmlns:a16="http://schemas.microsoft.com/office/drawing/2014/main" id="{9725B3ED-1377-B742-9E6E-22AF8D9BCEE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8957" y="1856131"/>
              <a:ext cx="537171" cy="3847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685640" rtl="0" eaLnBrk="1" latinLnBrk="0" hangingPunct="1">
                <a:lnSpc>
                  <a:spcPts val="2800"/>
                </a:lnSpc>
                <a:spcBef>
                  <a:spcPct val="0"/>
                </a:spcBef>
                <a:buNone/>
                <a:defRPr sz="3000" b="1" i="0" kern="1200">
                  <a:solidFill>
                    <a:schemeClr val="tx1"/>
                  </a:solidFill>
                  <a:latin typeface="Rajdhani" panose="02000000000000000000" pitchFamily="2" charset="77"/>
                  <a:ea typeface="+mj-ea"/>
                  <a:cs typeface="Rajdhani" panose="02000000000000000000" pitchFamily="2" charset="77"/>
                </a:defRPr>
              </a:lvl1pPr>
            </a:lstStyle>
            <a:p>
              <a:pPr algn="ctr"/>
              <a:r>
                <a:rPr lang="de-DE" sz="3000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1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5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7" name="Textplatzhalter 25">
            <a:extLst>
              <a:ext uri="{FF2B5EF4-FFF2-40B4-BE49-F238E27FC236}">
                <a16:creationId xmlns:a16="http://schemas.microsoft.com/office/drawing/2014/main" id="{092BB530-B4AA-FCAA-CA96-0330E7571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57886" y="4296921"/>
            <a:ext cx="5632957" cy="608454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F06E3A8-B14A-D824-5EA4-93FA2B31E603}"/>
              </a:ext>
            </a:extLst>
          </p:cNvPr>
          <p:cNvGrpSpPr/>
          <p:nvPr userDrawn="1"/>
        </p:nvGrpSpPr>
        <p:grpSpPr>
          <a:xfrm>
            <a:off x="3703918" y="1721595"/>
            <a:ext cx="1748711" cy="2277962"/>
            <a:chOff x="1757887" y="1729411"/>
            <a:chExt cx="1748711" cy="2277962"/>
          </a:xfrm>
        </p:grpSpPr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4E0722D-9C33-56B9-5BBC-D0064B15A0BE}"/>
                </a:ext>
              </a:extLst>
            </p:cNvPr>
            <p:cNvSpPr/>
            <p:nvPr userDrawn="1"/>
          </p:nvSpPr>
          <p:spPr>
            <a:xfrm>
              <a:off x="1757887" y="1998560"/>
              <a:ext cx="1748711" cy="169747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3" name="Dreieck 32">
              <a:extLst>
                <a:ext uri="{FF2B5EF4-FFF2-40B4-BE49-F238E27FC236}">
                  <a16:creationId xmlns:a16="http://schemas.microsoft.com/office/drawing/2014/main" id="{23E08A22-45BC-A8E5-8CD8-79A6F30E95C0}"/>
                </a:ext>
              </a:extLst>
            </p:cNvPr>
            <p:cNvSpPr/>
            <p:nvPr userDrawn="1"/>
          </p:nvSpPr>
          <p:spPr>
            <a:xfrm rot="10800000">
              <a:off x="2434722" y="3693382"/>
              <a:ext cx="395040" cy="313991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CC279F2-F5E0-D694-523B-347FBCFB51C7}"/>
                </a:ext>
              </a:extLst>
            </p:cNvPr>
            <p:cNvSpPr/>
            <p:nvPr userDrawn="1"/>
          </p:nvSpPr>
          <p:spPr>
            <a:xfrm>
              <a:off x="2368957" y="1729411"/>
              <a:ext cx="527965" cy="527965"/>
            </a:xfrm>
            <a:prstGeom prst="ellipse">
              <a:avLst/>
            </a:prstGeom>
            <a:solidFill>
              <a:srgbClr val="66DDD0"/>
            </a:solidFill>
            <a:ln w="317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Titel 19">
              <a:extLst>
                <a:ext uri="{FF2B5EF4-FFF2-40B4-BE49-F238E27FC236}">
                  <a16:creationId xmlns:a16="http://schemas.microsoft.com/office/drawing/2014/main" id="{D020A084-1BBD-CDB9-958D-53B3DE7277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8957" y="1856131"/>
              <a:ext cx="537171" cy="3847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685640" rtl="0" eaLnBrk="1" latinLnBrk="0" hangingPunct="1">
                <a:lnSpc>
                  <a:spcPts val="2800"/>
                </a:lnSpc>
                <a:spcBef>
                  <a:spcPct val="0"/>
                </a:spcBef>
                <a:buNone/>
                <a:defRPr sz="3000" b="1" i="0" kern="1200">
                  <a:solidFill>
                    <a:schemeClr val="tx1"/>
                  </a:solidFill>
                  <a:latin typeface="Rajdhani" panose="02000000000000000000" pitchFamily="2" charset="77"/>
                  <a:ea typeface="+mj-ea"/>
                  <a:cs typeface="Rajdhani" panose="02000000000000000000" pitchFamily="2" charset="77"/>
                </a:defRPr>
              </a:lvl1pPr>
            </a:lstStyle>
            <a:p>
              <a:pPr algn="ctr"/>
              <a:r>
                <a:rPr lang="de-DE" sz="3000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2</a:t>
              </a: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111610A5-4685-23E9-5D4D-A451D26C4B77}"/>
              </a:ext>
            </a:extLst>
          </p:cNvPr>
          <p:cNvGrpSpPr/>
          <p:nvPr userDrawn="1"/>
        </p:nvGrpSpPr>
        <p:grpSpPr>
          <a:xfrm>
            <a:off x="5642133" y="1721595"/>
            <a:ext cx="1748711" cy="2277962"/>
            <a:chOff x="1757887" y="1729411"/>
            <a:chExt cx="1748711" cy="2277962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F9493AF-36F6-EFB4-EF30-8C7E85E84924}"/>
                </a:ext>
              </a:extLst>
            </p:cNvPr>
            <p:cNvSpPr/>
            <p:nvPr userDrawn="1"/>
          </p:nvSpPr>
          <p:spPr>
            <a:xfrm>
              <a:off x="1757887" y="1998560"/>
              <a:ext cx="1748711" cy="1697471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0" name="Dreieck 39">
              <a:extLst>
                <a:ext uri="{FF2B5EF4-FFF2-40B4-BE49-F238E27FC236}">
                  <a16:creationId xmlns:a16="http://schemas.microsoft.com/office/drawing/2014/main" id="{1ED905CD-1980-1B12-0789-93B1E83AEF10}"/>
                </a:ext>
              </a:extLst>
            </p:cNvPr>
            <p:cNvSpPr/>
            <p:nvPr userDrawn="1"/>
          </p:nvSpPr>
          <p:spPr>
            <a:xfrm rot="10800000">
              <a:off x="2434722" y="3693382"/>
              <a:ext cx="395040" cy="313991"/>
            </a:xfrm>
            <a:prstGeom prst="triangle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4450387-FB42-0C69-7DEF-7C4CA1BA70B7}"/>
                </a:ext>
              </a:extLst>
            </p:cNvPr>
            <p:cNvSpPr/>
            <p:nvPr userDrawn="1"/>
          </p:nvSpPr>
          <p:spPr>
            <a:xfrm>
              <a:off x="2368957" y="1729411"/>
              <a:ext cx="527965" cy="527965"/>
            </a:xfrm>
            <a:prstGeom prst="ellipse">
              <a:avLst/>
            </a:prstGeom>
            <a:solidFill>
              <a:srgbClr val="BBDEF7"/>
            </a:solidFill>
            <a:ln w="317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Titel 19">
              <a:extLst>
                <a:ext uri="{FF2B5EF4-FFF2-40B4-BE49-F238E27FC236}">
                  <a16:creationId xmlns:a16="http://schemas.microsoft.com/office/drawing/2014/main" id="{9247B060-71F3-DA4C-4546-41777630A92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8957" y="1856131"/>
              <a:ext cx="537171" cy="3847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685640" rtl="0" eaLnBrk="1" latinLnBrk="0" hangingPunct="1">
                <a:lnSpc>
                  <a:spcPts val="2800"/>
                </a:lnSpc>
                <a:spcBef>
                  <a:spcPct val="0"/>
                </a:spcBef>
                <a:buNone/>
                <a:defRPr sz="3000" b="1" i="0" kern="1200">
                  <a:solidFill>
                    <a:schemeClr val="tx1"/>
                  </a:solidFill>
                  <a:latin typeface="Rajdhani" panose="02000000000000000000" pitchFamily="2" charset="77"/>
                  <a:ea typeface="+mj-ea"/>
                  <a:cs typeface="Rajdhani" panose="02000000000000000000" pitchFamily="2" charset="77"/>
                </a:defRPr>
              </a:lvl1pPr>
            </a:lstStyle>
            <a:p>
              <a:pPr algn="ctr"/>
              <a:r>
                <a:rPr lang="de-DE" sz="3000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3</a:t>
              </a:r>
            </a:p>
          </p:txBody>
        </p:sp>
      </p:grpSp>
      <p:sp>
        <p:nvSpPr>
          <p:cNvPr id="49" name="Textplatzhalter 25">
            <a:extLst>
              <a:ext uri="{FF2B5EF4-FFF2-40B4-BE49-F238E27FC236}">
                <a16:creationId xmlns:a16="http://schemas.microsoft.com/office/drawing/2014/main" id="{67262060-A5DF-EFC0-20C2-0F67E2EEB21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16313" y="2434103"/>
            <a:ext cx="1438075" cy="1085900"/>
          </a:xfrm>
        </p:spPr>
        <p:txBody>
          <a:bodyPr lIns="0" tIns="0" rIns="0" bIns="0" numCol="1" spcCol="540000">
            <a:normAutofit/>
          </a:bodyPr>
          <a:lstStyle>
            <a:lvl1pPr marL="0" marR="0" indent="0" algn="l" defTabSz="914309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2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steht ein Text</a:t>
            </a:r>
          </a:p>
        </p:txBody>
      </p:sp>
      <p:sp>
        <p:nvSpPr>
          <p:cNvPr id="52" name="Datumsplatzhalter 17">
            <a:extLst>
              <a:ext uri="{FF2B5EF4-FFF2-40B4-BE49-F238E27FC236}">
                <a16:creationId xmlns:a16="http://schemas.microsoft.com/office/drawing/2014/main" id="{9D3DC540-21C3-CCB2-6300-7F659FD2B88A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7E6D5447-B8B0-41CE-9BFD-1E8AAC7CF4A6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36" name="Date Placeholder 3">
            <a:extLst>
              <a:ext uri="{FF2B5EF4-FFF2-40B4-BE49-F238E27FC236}">
                <a16:creationId xmlns:a16="http://schemas.microsoft.com/office/drawing/2014/main" id="{C2A371C8-09E1-98DC-DF1E-1D5527547E3D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45" name="Textplatzhalter 25">
            <a:extLst>
              <a:ext uri="{FF2B5EF4-FFF2-40B4-BE49-F238E27FC236}">
                <a16:creationId xmlns:a16="http://schemas.microsoft.com/office/drawing/2014/main" id="{3CB11CEE-9550-B7FD-A488-52A7EFB8EFD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850217" y="2434103"/>
            <a:ext cx="1438075" cy="1085900"/>
          </a:xfrm>
        </p:spPr>
        <p:txBody>
          <a:bodyPr lIns="0" tIns="0" rIns="0" bIns="0" numCol="1" spcCol="540000">
            <a:normAutofit/>
          </a:bodyPr>
          <a:lstStyle>
            <a:lvl1pPr marL="0" marR="0" indent="0" algn="l" defTabSz="914309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2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steht ein Text</a:t>
            </a:r>
          </a:p>
        </p:txBody>
      </p:sp>
      <p:sp>
        <p:nvSpPr>
          <p:cNvPr id="46" name="Textplatzhalter 25">
            <a:extLst>
              <a:ext uri="{FF2B5EF4-FFF2-40B4-BE49-F238E27FC236}">
                <a16:creationId xmlns:a16="http://schemas.microsoft.com/office/drawing/2014/main" id="{AEFA2836-D146-78BD-3621-8C0A17E747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94631" y="2434103"/>
            <a:ext cx="1438075" cy="1085900"/>
          </a:xfrm>
        </p:spPr>
        <p:txBody>
          <a:bodyPr lIns="0" tIns="0" rIns="0" bIns="0" numCol="1" spcCol="540000">
            <a:normAutofit/>
          </a:bodyPr>
          <a:lstStyle>
            <a:lvl1pPr marL="0" marR="0" indent="0" algn="l" defTabSz="914309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2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steht ein 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14C5BE-6715-AA48-9DBB-298CAFC021CA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448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+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90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42B6F27F-14A5-9AF7-6009-D253944D2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3"/>
            <a:ext cx="2778388" cy="3332162"/>
          </a:xfrm>
        </p:spPr>
        <p:txBody>
          <a:bodyPr lIns="0" tIns="0" rIns="0" bIns="0" numCol="1" spcCol="396000" anchor="ctr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17201A3-9CF3-CF79-3DD8-C3CB9737EF30}"/>
              </a:ext>
            </a:extLst>
          </p:cNvPr>
          <p:cNvSpPr/>
          <p:nvPr userDrawn="1"/>
        </p:nvSpPr>
        <p:spPr>
          <a:xfrm>
            <a:off x="4290277" y="1593895"/>
            <a:ext cx="4421923" cy="3311480"/>
          </a:xfrm>
          <a:prstGeom prst="rect">
            <a:avLst/>
          </a:prstGeom>
          <a:solidFill>
            <a:schemeClr val="bg1">
              <a:lumMod val="60000"/>
              <a:lumOff val="40000"/>
              <a:alpha val="5914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74" dirty="0"/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27682BE8-E75D-CD6B-D02E-BB0CF311F5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90278" y="1584838"/>
            <a:ext cx="2169260" cy="3322163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33" name="Textplatzhalter 25">
            <a:extLst>
              <a:ext uri="{FF2B5EF4-FFF2-40B4-BE49-F238E27FC236}">
                <a16:creationId xmlns:a16="http://schemas.microsoft.com/office/drawing/2014/main" id="{BD004E10-267F-A35A-AF72-836C9D9B5F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08787" y="3215629"/>
            <a:ext cx="1527176" cy="405239"/>
          </a:xfrm>
        </p:spPr>
        <p:txBody>
          <a:bodyPr lIns="0">
            <a:spAutoFit/>
          </a:bodyPr>
          <a:lstStyle>
            <a:lvl1pPr marL="0" marR="0" indent="0" algn="l" defTabSz="68564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None/>
              <a:tabLst/>
              <a:defRPr sz="1200" b="1" i="0" u="none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Veranstaltung XY</a:t>
            </a:r>
            <a:br>
              <a:rPr lang="de-DE" dirty="0"/>
            </a:br>
            <a:r>
              <a:rPr lang="de-DE" dirty="0"/>
              <a:t>Datum XX.XX.2022</a:t>
            </a:r>
          </a:p>
        </p:txBody>
      </p:sp>
      <p:sp>
        <p:nvSpPr>
          <p:cNvPr id="34" name="Textplatzhalter 25">
            <a:extLst>
              <a:ext uri="{FF2B5EF4-FFF2-40B4-BE49-F238E27FC236}">
                <a16:creationId xmlns:a16="http://schemas.microsoft.com/office/drawing/2014/main" id="{CDD8B380-A028-D120-15A6-370B79CEDD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08788" y="3842403"/>
            <a:ext cx="1527175" cy="142347"/>
          </a:xfrm>
        </p:spPr>
        <p:txBody>
          <a:bodyPr lIns="0" tIns="0" rIns="0" bIns="0" numCol="1" spcCol="540000">
            <a:spAutoFit/>
          </a:bodyPr>
          <a:lstStyle>
            <a:lvl1pPr marL="0" marR="0" indent="0" algn="l" defTabSz="68564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Hier steht ein Text</a:t>
            </a:r>
          </a:p>
        </p:txBody>
      </p:sp>
      <p:sp>
        <p:nvSpPr>
          <p:cNvPr id="36" name="Textplatzhalter 25">
            <a:extLst>
              <a:ext uri="{FF2B5EF4-FFF2-40B4-BE49-F238E27FC236}">
                <a16:creationId xmlns:a16="http://schemas.microsoft.com/office/drawing/2014/main" id="{904E3F11-5C49-3F2C-F344-119E423ED4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08787" y="2202627"/>
            <a:ext cx="1527176" cy="766877"/>
          </a:xfrm>
        </p:spPr>
        <p:txBody>
          <a:bodyPr lIns="0">
            <a:spAutoFit/>
          </a:bodyPr>
          <a:lstStyle>
            <a:lvl1pPr marL="0" marR="0" indent="0" algn="l" defTabSz="685640" rtl="0" eaLnBrk="1" fontAlgn="auto" latinLnBrk="0" hangingPunct="1">
              <a:lnSpc>
                <a:spcPts val="195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None/>
              <a:tabLst/>
              <a:defRPr sz="1600" b="1" i="0" u="sng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Info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sm</a:t>
            </a:r>
            <a:br>
              <a:rPr lang="de-DE" dirty="0"/>
            </a:br>
            <a:r>
              <a:rPr lang="de-DE" dirty="0"/>
              <a:t>Information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Doloris</a:t>
            </a:r>
            <a:r>
              <a:rPr lang="de-DE" dirty="0"/>
              <a:t> </a:t>
            </a:r>
            <a:r>
              <a:rPr lang="de-DE" dirty="0" err="1"/>
              <a:t>Ism</a:t>
            </a:r>
            <a:endParaRPr lang="de-DE" dirty="0"/>
          </a:p>
        </p:txBody>
      </p:sp>
      <p:sp>
        <p:nvSpPr>
          <p:cNvPr id="38" name="Datumsplatzhalter 17">
            <a:extLst>
              <a:ext uri="{FF2B5EF4-FFF2-40B4-BE49-F238E27FC236}">
                <a16:creationId xmlns:a16="http://schemas.microsoft.com/office/drawing/2014/main" id="{6C472F4D-09EF-BF60-1A7B-9BD38C5AB54D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9E594DF6-7E7A-419F-9278-608620E1B596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5AFCE682-18E9-6C70-5A1E-F122C5BE1152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C09F59FB-8CE0-A29A-5B03-7565F02C49D7}"/>
              </a:ext>
            </a:extLst>
          </p:cNvPr>
          <p:cNvCxnSpPr>
            <a:cxnSpLocks/>
          </p:cNvCxnSpPr>
          <p:nvPr userDrawn="1"/>
        </p:nvCxnSpPr>
        <p:spPr>
          <a:xfrm flipV="1">
            <a:off x="6459538" y="1584838"/>
            <a:ext cx="2252662" cy="905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7B905C1-E447-38C2-AE9A-A4CAC7CE8F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97759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+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88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42B6F27F-14A5-9AF7-6009-D253944D2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7612" y="1573213"/>
            <a:ext cx="2562225" cy="3332162"/>
          </a:xfrm>
        </p:spPr>
        <p:txBody>
          <a:bodyPr lIns="0" tIns="0" rIns="0" bIns="0" numCol="1" spcCol="396000" anchor="ctr">
            <a:noAutofit/>
          </a:bodyPr>
          <a:lstStyle>
            <a:lvl1pPr marL="0" marR="0" indent="0" algn="l" defTabSz="91430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17201A3-9CF3-CF79-3DD8-C3CB9737EF30}"/>
              </a:ext>
            </a:extLst>
          </p:cNvPr>
          <p:cNvSpPr/>
          <p:nvPr userDrawn="1"/>
        </p:nvSpPr>
        <p:spPr>
          <a:xfrm>
            <a:off x="575410" y="1593895"/>
            <a:ext cx="2252662" cy="3311480"/>
          </a:xfrm>
          <a:prstGeom prst="rect">
            <a:avLst/>
          </a:prstGeom>
          <a:solidFill>
            <a:schemeClr val="bg1">
              <a:lumMod val="60000"/>
              <a:lumOff val="40000"/>
              <a:alpha val="5914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74" dirty="0"/>
          </a:p>
        </p:txBody>
      </p:sp>
      <p:sp>
        <p:nvSpPr>
          <p:cNvPr id="33" name="Textplatzhalter 25">
            <a:extLst>
              <a:ext uri="{FF2B5EF4-FFF2-40B4-BE49-F238E27FC236}">
                <a16:creationId xmlns:a16="http://schemas.microsoft.com/office/drawing/2014/main" id="{BD004E10-267F-A35A-AF72-836C9D9B5F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820" y="3215629"/>
            <a:ext cx="1527176" cy="405239"/>
          </a:xfrm>
        </p:spPr>
        <p:txBody>
          <a:bodyPr lIns="0">
            <a:spAutoFit/>
          </a:bodyPr>
          <a:lstStyle>
            <a:lvl1pPr marL="0" marR="0" indent="0" algn="l" defTabSz="68564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None/>
              <a:tabLst/>
              <a:defRPr sz="1200" b="1" i="0" u="none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Veranstaltung XY</a:t>
            </a:r>
            <a:br>
              <a:rPr lang="de-DE" dirty="0"/>
            </a:br>
            <a:r>
              <a:rPr lang="de-DE" dirty="0"/>
              <a:t>Datum XX.XX.2022</a:t>
            </a:r>
          </a:p>
        </p:txBody>
      </p:sp>
      <p:sp>
        <p:nvSpPr>
          <p:cNvPr id="34" name="Textplatzhalter 25">
            <a:extLst>
              <a:ext uri="{FF2B5EF4-FFF2-40B4-BE49-F238E27FC236}">
                <a16:creationId xmlns:a16="http://schemas.microsoft.com/office/drawing/2014/main" id="{CDD8B380-A028-D120-15A6-370B79CEDD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4821" y="3842403"/>
            <a:ext cx="1527175" cy="142347"/>
          </a:xfrm>
        </p:spPr>
        <p:txBody>
          <a:bodyPr lIns="0" tIns="0" rIns="0" bIns="0" numCol="1" spcCol="540000">
            <a:spAutoFit/>
          </a:bodyPr>
          <a:lstStyle>
            <a:lvl1pPr marL="0" marR="0" indent="0" algn="l" defTabSz="68564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Hier steht ein Text</a:t>
            </a:r>
          </a:p>
        </p:txBody>
      </p:sp>
      <p:sp>
        <p:nvSpPr>
          <p:cNvPr id="36" name="Textplatzhalter 25">
            <a:extLst>
              <a:ext uri="{FF2B5EF4-FFF2-40B4-BE49-F238E27FC236}">
                <a16:creationId xmlns:a16="http://schemas.microsoft.com/office/drawing/2014/main" id="{904E3F11-5C49-3F2C-F344-119E423ED4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820" y="2202627"/>
            <a:ext cx="1527176" cy="766877"/>
          </a:xfrm>
        </p:spPr>
        <p:txBody>
          <a:bodyPr lIns="0">
            <a:spAutoFit/>
          </a:bodyPr>
          <a:lstStyle>
            <a:lvl1pPr marL="0" marR="0" indent="0" algn="l" defTabSz="685640" rtl="0" eaLnBrk="1" fontAlgn="auto" latinLnBrk="0" hangingPunct="1">
              <a:lnSpc>
                <a:spcPts val="195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None/>
              <a:tabLst/>
              <a:defRPr sz="1600" b="1" i="0" u="sng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Info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sm</a:t>
            </a:r>
            <a:br>
              <a:rPr lang="de-DE" dirty="0"/>
            </a:br>
            <a:r>
              <a:rPr lang="de-DE" dirty="0"/>
              <a:t>Information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Doloris</a:t>
            </a:r>
            <a:r>
              <a:rPr lang="de-DE" dirty="0"/>
              <a:t> </a:t>
            </a:r>
            <a:r>
              <a:rPr lang="de-DE" dirty="0" err="1"/>
              <a:t>Ism</a:t>
            </a:r>
            <a:endParaRPr lang="de-DE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AF50C85-6A2B-F9B8-FB51-99B72F81F2FA}"/>
              </a:ext>
            </a:extLst>
          </p:cNvPr>
          <p:cNvSpPr/>
          <p:nvPr userDrawn="1"/>
        </p:nvSpPr>
        <p:spPr>
          <a:xfrm>
            <a:off x="3016999" y="1593895"/>
            <a:ext cx="2252662" cy="3311480"/>
          </a:xfrm>
          <a:prstGeom prst="rect">
            <a:avLst/>
          </a:prstGeom>
          <a:solidFill>
            <a:srgbClr val="99E9E0">
              <a:alpha val="5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74" dirty="0"/>
          </a:p>
        </p:txBody>
      </p:sp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341F873F-FAF9-28A2-4B12-B015D1A4FD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66248" y="3215629"/>
            <a:ext cx="1527176" cy="405239"/>
          </a:xfrm>
        </p:spPr>
        <p:txBody>
          <a:bodyPr lIns="0">
            <a:spAutoFit/>
          </a:bodyPr>
          <a:lstStyle>
            <a:lvl1pPr marL="0" marR="0" indent="0" algn="l" defTabSz="68564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None/>
              <a:tabLst/>
              <a:defRPr sz="1200" b="1" i="0" u="none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Veranstaltung XY</a:t>
            </a:r>
            <a:br>
              <a:rPr lang="de-DE" dirty="0"/>
            </a:br>
            <a:r>
              <a:rPr lang="de-DE" dirty="0"/>
              <a:t>Datum XX.XX.2022</a:t>
            </a:r>
          </a:p>
        </p:txBody>
      </p:sp>
      <p:sp>
        <p:nvSpPr>
          <p:cNvPr id="35" name="Textplatzhalter 25">
            <a:extLst>
              <a:ext uri="{FF2B5EF4-FFF2-40B4-BE49-F238E27FC236}">
                <a16:creationId xmlns:a16="http://schemas.microsoft.com/office/drawing/2014/main" id="{9BB77B19-6CA1-A4A0-ECDD-722E561CA7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6249" y="3842403"/>
            <a:ext cx="1527175" cy="142347"/>
          </a:xfrm>
        </p:spPr>
        <p:txBody>
          <a:bodyPr lIns="0" tIns="0" rIns="0" bIns="0" numCol="1" spcCol="540000">
            <a:spAutoFit/>
          </a:bodyPr>
          <a:lstStyle>
            <a:lvl1pPr marL="0" marR="0" indent="0" algn="l" defTabSz="68564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Hier steht ein Text</a:t>
            </a:r>
          </a:p>
        </p:txBody>
      </p:sp>
      <p:sp>
        <p:nvSpPr>
          <p:cNvPr id="38" name="Textplatzhalter 25">
            <a:extLst>
              <a:ext uri="{FF2B5EF4-FFF2-40B4-BE49-F238E27FC236}">
                <a16:creationId xmlns:a16="http://schemas.microsoft.com/office/drawing/2014/main" id="{F8F79465-2ED4-A0C0-B597-4A0579F994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6248" y="2202627"/>
            <a:ext cx="1527176" cy="766877"/>
          </a:xfrm>
        </p:spPr>
        <p:txBody>
          <a:bodyPr lIns="0">
            <a:spAutoFit/>
          </a:bodyPr>
          <a:lstStyle>
            <a:lvl1pPr marL="0" marR="0" indent="0" algn="l" defTabSz="685640" rtl="0" eaLnBrk="1" fontAlgn="auto" latinLnBrk="0" hangingPunct="1">
              <a:lnSpc>
                <a:spcPts val="195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None/>
              <a:tabLst/>
              <a:defRPr sz="1600" b="1" i="0" u="sng">
                <a:solidFill>
                  <a:srgbClr val="000000"/>
                </a:solidFill>
                <a:latin typeface="Nunito Sans Light" pitchFamily="2" charset="0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Info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sm</a:t>
            </a:r>
            <a:br>
              <a:rPr lang="de-DE" dirty="0"/>
            </a:br>
            <a:r>
              <a:rPr lang="de-DE" dirty="0"/>
              <a:t>Information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Doloris</a:t>
            </a:r>
            <a:r>
              <a:rPr lang="de-DE" dirty="0"/>
              <a:t> </a:t>
            </a:r>
            <a:r>
              <a:rPr lang="de-DE" dirty="0" err="1"/>
              <a:t>Ism</a:t>
            </a:r>
            <a:endParaRPr lang="de-DE" dirty="0"/>
          </a:p>
        </p:txBody>
      </p:sp>
      <p:sp>
        <p:nvSpPr>
          <p:cNvPr id="42" name="Datumsplatzhalter 17">
            <a:extLst>
              <a:ext uri="{FF2B5EF4-FFF2-40B4-BE49-F238E27FC236}">
                <a16:creationId xmlns:a16="http://schemas.microsoft.com/office/drawing/2014/main" id="{59197287-D1C0-9901-8DE9-78ADAA8F5161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681C4D33-C7D5-4C63-96D3-2716A0728B98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6F97DB96-88FF-8876-71AC-EBC0765F2B89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DB71C49D-F822-9FAB-0B90-804C5541E53C}"/>
              </a:ext>
            </a:extLst>
          </p:cNvPr>
          <p:cNvCxnSpPr>
            <a:cxnSpLocks/>
          </p:cNvCxnSpPr>
          <p:nvPr userDrawn="1"/>
        </p:nvCxnSpPr>
        <p:spPr>
          <a:xfrm>
            <a:off x="3016999" y="1584838"/>
            <a:ext cx="225266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C09F59FB-8CE0-A29A-5B03-7565F02C49D7}"/>
              </a:ext>
            </a:extLst>
          </p:cNvPr>
          <p:cNvCxnSpPr>
            <a:cxnSpLocks/>
          </p:cNvCxnSpPr>
          <p:nvPr userDrawn="1"/>
        </p:nvCxnSpPr>
        <p:spPr>
          <a:xfrm>
            <a:off x="575410" y="1584838"/>
            <a:ext cx="225266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0FAA7F9-3B69-15ED-0F17-0168224B69E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61244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trenner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7168769D-1FD1-8A17-0743-133385E623AB}"/>
              </a:ext>
            </a:extLst>
          </p:cNvPr>
          <p:cNvSpPr/>
          <p:nvPr userDrawn="1"/>
        </p:nvSpPr>
        <p:spPr>
          <a:xfrm>
            <a:off x="0" y="269"/>
            <a:ext cx="9144000" cy="5715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4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D72C8DA-4CA0-7C44-AF35-7D9B0F810F0D}"/>
              </a:ext>
            </a:extLst>
          </p:cNvPr>
          <p:cNvGrpSpPr/>
          <p:nvPr userDrawn="1"/>
        </p:nvGrpSpPr>
        <p:grpSpPr>
          <a:xfrm>
            <a:off x="8175600" y="0"/>
            <a:ext cx="972000" cy="972000"/>
            <a:chOff x="1429969" y="1717048"/>
            <a:chExt cx="973545" cy="973546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EC529A1-2278-D034-28F9-77152A68D035}"/>
                </a:ext>
              </a:extLst>
            </p:cNvPr>
            <p:cNvSpPr/>
            <p:nvPr userDrawn="1"/>
          </p:nvSpPr>
          <p:spPr>
            <a:xfrm>
              <a:off x="1429969" y="1717317"/>
              <a:ext cx="973545" cy="292064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01E7146A-B4AB-4FF2-95E3-E7E3C1AC5325}"/>
                </a:ext>
              </a:extLst>
            </p:cNvPr>
            <p:cNvSpPr/>
            <p:nvPr userDrawn="1"/>
          </p:nvSpPr>
          <p:spPr>
            <a:xfrm rot="5400000">
              <a:off x="1770708" y="2057788"/>
              <a:ext cx="973546" cy="292065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18" name="Subtitle 2">
            <a:extLst>
              <a:ext uri="{FF2B5EF4-FFF2-40B4-BE49-F238E27FC236}">
                <a16:creationId xmlns:a16="http://schemas.microsoft.com/office/drawing/2014/main" id="{B39B3BC4-B942-D66A-B792-E162135EA6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09952" y="3471593"/>
            <a:ext cx="2153871" cy="510396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1950"/>
              </a:lnSpc>
              <a:spcBef>
                <a:spcPts val="0"/>
              </a:spcBef>
              <a:buNone/>
              <a:defRPr sz="1600"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 algn="ctr">
              <a:buNone/>
              <a:defRPr sz="1500"/>
            </a:lvl2pPr>
            <a:lvl3pPr marL="685640" indent="0" algn="ctr">
              <a:buNone/>
              <a:defRPr sz="1350"/>
            </a:lvl3pPr>
            <a:lvl4pPr marL="1028460" indent="0" algn="ctr">
              <a:buNone/>
              <a:defRPr sz="1200"/>
            </a:lvl4pPr>
            <a:lvl5pPr marL="1371280" indent="0" algn="ctr">
              <a:buNone/>
              <a:defRPr sz="1200"/>
            </a:lvl5pPr>
            <a:lvl6pPr marL="1714100" indent="0" algn="ctr">
              <a:buNone/>
              <a:defRPr sz="1200"/>
            </a:lvl6pPr>
            <a:lvl7pPr marL="2056920" indent="0" algn="ctr">
              <a:buNone/>
              <a:defRPr sz="1200"/>
            </a:lvl7pPr>
            <a:lvl8pPr marL="2399740" indent="0" algn="ctr">
              <a:buNone/>
              <a:defRPr sz="1200"/>
            </a:lvl8pPr>
            <a:lvl9pPr marL="274256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9" name="Titel 11">
            <a:extLst>
              <a:ext uri="{FF2B5EF4-FFF2-40B4-BE49-F238E27FC236}">
                <a16:creationId xmlns:a16="http://schemas.microsoft.com/office/drawing/2014/main" id="{71C5477A-DD91-76CE-4156-ECEAA1CB5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380" y="1921607"/>
            <a:ext cx="2155443" cy="1564531"/>
          </a:xfrm>
        </p:spPr>
        <p:txBody>
          <a:bodyPr/>
          <a:lstStyle>
            <a:lvl1pPr>
              <a:lnSpc>
                <a:spcPts val="40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Kapitel bearbeiten</a:t>
            </a:r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8F258B1-5A2F-9D6A-D480-9345C492F84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493600" cy="57150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Bild einfügen:</a:t>
            </a:r>
          </a:p>
          <a:p>
            <a:r>
              <a:rPr lang="de-DE" dirty="0"/>
              <a:t>Format: 15,88 x 15,26 cm</a:t>
            </a:r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EB92CE9B-FF6E-8F43-D32A-E07E86010E1E}"/>
              </a:ext>
            </a:extLst>
          </p:cNvPr>
          <p:cNvSpPr txBox="1">
            <a:spLocks/>
          </p:cNvSpPr>
          <p:nvPr userDrawn="1"/>
        </p:nvSpPr>
        <p:spPr>
          <a:xfrm>
            <a:off x="8184983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D5054F6-6491-8548-A6AB-E69F0D62098E}" type="slidenum">
              <a:rPr lang="de-DE" sz="900" b="0" i="0" smtClean="0">
                <a:solidFill>
                  <a:schemeClr val="bg2"/>
                </a:solidFill>
                <a:latin typeface="Nunito Sans Light" pitchFamily="2" charset="77"/>
              </a:rPr>
              <a:pPr algn="l"/>
              <a:t>‹Nr.›</a:t>
            </a:fld>
            <a:endParaRPr lang="de-DE" sz="900" b="0" i="0" dirty="0">
              <a:solidFill>
                <a:schemeClr val="bg2"/>
              </a:solidFill>
              <a:latin typeface="Nunito Sans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927862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10A6A651-73A2-BA89-9A31-4936E194AA05}"/>
              </a:ext>
            </a:extLst>
          </p:cNvPr>
          <p:cNvSpPr/>
          <p:nvPr userDrawn="1"/>
        </p:nvSpPr>
        <p:spPr>
          <a:xfrm>
            <a:off x="0" y="269"/>
            <a:ext cx="9144000" cy="5715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4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D72C8DA-4CA0-7C44-AF35-7D9B0F810F0D}"/>
              </a:ext>
            </a:extLst>
          </p:cNvPr>
          <p:cNvGrpSpPr/>
          <p:nvPr userDrawn="1"/>
        </p:nvGrpSpPr>
        <p:grpSpPr>
          <a:xfrm>
            <a:off x="8175600" y="0"/>
            <a:ext cx="972000" cy="972000"/>
            <a:chOff x="1429969" y="1717048"/>
            <a:chExt cx="973545" cy="973546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EC529A1-2278-D034-28F9-77152A68D035}"/>
                </a:ext>
              </a:extLst>
            </p:cNvPr>
            <p:cNvSpPr/>
            <p:nvPr userDrawn="1"/>
          </p:nvSpPr>
          <p:spPr>
            <a:xfrm>
              <a:off x="1429969" y="1717317"/>
              <a:ext cx="973545" cy="292064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01E7146A-B4AB-4FF2-95E3-E7E3C1AC5325}"/>
                </a:ext>
              </a:extLst>
            </p:cNvPr>
            <p:cNvSpPr/>
            <p:nvPr userDrawn="1"/>
          </p:nvSpPr>
          <p:spPr>
            <a:xfrm rot="5400000">
              <a:off x="1770708" y="2057788"/>
              <a:ext cx="973546" cy="292065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F2BF0728-1B7E-E82E-8D57-6A5451044BF0}"/>
              </a:ext>
            </a:extLst>
          </p:cNvPr>
          <p:cNvSpPr txBox="1">
            <a:spLocks/>
          </p:cNvSpPr>
          <p:nvPr userDrawn="1"/>
        </p:nvSpPr>
        <p:spPr>
          <a:xfrm>
            <a:off x="8184983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D5054F6-6491-8548-A6AB-E69F0D62098E}" type="slidenum">
              <a:rPr lang="de-DE" sz="900" b="0" i="0" smtClean="0">
                <a:solidFill>
                  <a:schemeClr val="bg2"/>
                </a:solidFill>
                <a:latin typeface="Nunito Sans Light" pitchFamily="2" charset="77"/>
              </a:rPr>
              <a:pPr algn="l"/>
              <a:t>‹Nr.›</a:t>
            </a:fld>
            <a:endParaRPr lang="de-DE" sz="900" b="0" i="0" dirty="0">
              <a:solidFill>
                <a:schemeClr val="bg2"/>
              </a:solidFill>
              <a:latin typeface="Nunito Sans Light" pitchFamily="2" charset="77"/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B39B3BC4-B942-D66A-B792-E162135EA6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000" y="2476013"/>
            <a:ext cx="6496312" cy="253916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1950"/>
              </a:lnSpc>
              <a:spcBef>
                <a:spcPts val="0"/>
              </a:spcBef>
              <a:buNone/>
              <a:defRPr sz="1600"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 algn="ctr">
              <a:buNone/>
              <a:defRPr sz="1500"/>
            </a:lvl2pPr>
            <a:lvl3pPr marL="685640" indent="0" algn="ctr">
              <a:buNone/>
              <a:defRPr sz="1350"/>
            </a:lvl3pPr>
            <a:lvl4pPr marL="1028460" indent="0" algn="ctr">
              <a:buNone/>
              <a:defRPr sz="1200"/>
            </a:lvl4pPr>
            <a:lvl5pPr marL="1371280" indent="0" algn="ctr">
              <a:buNone/>
              <a:defRPr sz="1200"/>
            </a:lvl5pPr>
            <a:lvl6pPr marL="1714100" indent="0" algn="ctr">
              <a:buNone/>
              <a:defRPr sz="1200"/>
            </a:lvl6pPr>
            <a:lvl7pPr marL="2056920" indent="0" algn="ctr">
              <a:buNone/>
              <a:defRPr sz="1200"/>
            </a:lvl7pPr>
            <a:lvl8pPr marL="2399740" indent="0" algn="ctr">
              <a:buNone/>
              <a:defRPr sz="1200"/>
            </a:lvl8pPr>
            <a:lvl9pPr marL="274256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9" name="Titel 11">
            <a:extLst>
              <a:ext uri="{FF2B5EF4-FFF2-40B4-BE49-F238E27FC236}">
                <a16:creationId xmlns:a16="http://schemas.microsoft.com/office/drawing/2014/main" id="{71C5477A-DD91-76CE-4156-ECEAA1CB5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999" y="1921607"/>
            <a:ext cx="6496313" cy="538609"/>
          </a:xfrm>
        </p:spPr>
        <p:txBody>
          <a:bodyPr/>
          <a:lstStyle>
            <a:lvl1pPr>
              <a:lnSpc>
                <a:spcPts val="40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Kapitel bearbeiten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F973F26-2048-31E7-C239-2CA7E73D65BC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1ABE1F7-1642-08F8-1FDE-FEB9F7E2EC55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50D9F46-B4CF-9C7D-FD06-26984F136703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0" name="Datumsplatzhalter 17">
            <a:extLst>
              <a:ext uri="{FF2B5EF4-FFF2-40B4-BE49-F238E27FC236}">
                <a16:creationId xmlns:a16="http://schemas.microsoft.com/office/drawing/2014/main" id="{4A9B3DB4-AB0B-1415-CC27-5AB1BC9C406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/>
                </a:solidFill>
                <a:latin typeface="Nunito Sans Light" pitchFamily="2" charset="77"/>
              </a:defRPr>
            </a:lvl1pPr>
          </a:lstStyle>
          <a:p>
            <a:fld id="{A450AD66-9630-4232-81AE-5604B905E8D8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4AA06E24-88BA-18A6-B11C-D759770F5662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chemeClr val="bg2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7C3DF47-1C04-B661-ECA2-EEE4C9A4652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63400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8">
            <a:extLst>
              <a:ext uri="{FF2B5EF4-FFF2-40B4-BE49-F238E27FC236}">
                <a16:creationId xmlns:a16="http://schemas.microsoft.com/office/drawing/2014/main" id="{BB68FD43-D977-95F3-5FF0-72DC2062053D}"/>
              </a:ext>
            </a:extLst>
          </p:cNvPr>
          <p:cNvSpPr/>
          <p:nvPr userDrawn="1"/>
        </p:nvSpPr>
        <p:spPr>
          <a:xfrm>
            <a:off x="0" y="269"/>
            <a:ext cx="9144000" cy="5715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4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D72C8DA-4CA0-7C44-AF35-7D9B0F810F0D}"/>
              </a:ext>
            </a:extLst>
          </p:cNvPr>
          <p:cNvGrpSpPr/>
          <p:nvPr userDrawn="1"/>
        </p:nvGrpSpPr>
        <p:grpSpPr>
          <a:xfrm>
            <a:off x="8175600" y="0"/>
            <a:ext cx="972000" cy="972000"/>
            <a:chOff x="1429969" y="1717048"/>
            <a:chExt cx="973545" cy="973546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EC529A1-2278-D034-28F9-77152A68D035}"/>
                </a:ext>
              </a:extLst>
            </p:cNvPr>
            <p:cNvSpPr/>
            <p:nvPr userDrawn="1"/>
          </p:nvSpPr>
          <p:spPr>
            <a:xfrm>
              <a:off x="1429969" y="1717317"/>
              <a:ext cx="973545" cy="292064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01E7146A-B4AB-4FF2-95E3-E7E3C1AC5325}"/>
                </a:ext>
              </a:extLst>
            </p:cNvPr>
            <p:cNvSpPr/>
            <p:nvPr userDrawn="1"/>
          </p:nvSpPr>
          <p:spPr>
            <a:xfrm rot="5400000">
              <a:off x="1770708" y="2057788"/>
              <a:ext cx="973546" cy="292065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pic>
        <p:nvPicPr>
          <p:cNvPr id="15" name="Grafik 14">
            <a:hlinkClick r:id="rId2"/>
            <a:extLst>
              <a:ext uri="{FF2B5EF4-FFF2-40B4-BE49-F238E27FC236}">
                <a16:creationId xmlns:a16="http://schemas.microsoft.com/office/drawing/2014/main" id="{DF965498-56C6-CDA1-B7D5-15BD33B661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76111" y="4127028"/>
            <a:ext cx="670890" cy="670890"/>
          </a:xfrm>
          <a:prstGeom prst="rect">
            <a:avLst/>
          </a:prstGeom>
        </p:spPr>
      </p:pic>
      <p:pic>
        <p:nvPicPr>
          <p:cNvPr id="16" name="Grafik 15">
            <a:hlinkClick r:id="rId5"/>
            <a:extLst>
              <a:ext uri="{FF2B5EF4-FFF2-40B4-BE49-F238E27FC236}">
                <a16:creationId xmlns:a16="http://schemas.microsoft.com/office/drawing/2014/main" id="{EC2911F9-9528-2F19-1FBB-F5A2CB003D6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40340" y="4108740"/>
            <a:ext cx="670890" cy="670890"/>
          </a:xfrm>
          <a:prstGeom prst="rect">
            <a:avLst/>
          </a:prstGeom>
        </p:spPr>
      </p:pic>
      <p:pic>
        <p:nvPicPr>
          <p:cNvPr id="17" name="Grafik 16">
            <a:hlinkClick r:id="rId8"/>
            <a:extLst>
              <a:ext uri="{FF2B5EF4-FFF2-40B4-BE49-F238E27FC236}">
                <a16:creationId xmlns:a16="http://schemas.microsoft.com/office/drawing/2014/main" id="{EC25DB5F-56A1-86E3-9A1B-929E3A381B7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216412" y="4108740"/>
            <a:ext cx="670890" cy="670890"/>
          </a:xfrm>
          <a:prstGeom prst="rect">
            <a:avLst/>
          </a:prstGeom>
        </p:spPr>
      </p:pic>
      <p:pic>
        <p:nvPicPr>
          <p:cNvPr id="20" name="Grafik 19">
            <a:hlinkClick r:id="rId11"/>
            <a:extLst>
              <a:ext uri="{FF2B5EF4-FFF2-40B4-BE49-F238E27FC236}">
                <a16:creationId xmlns:a16="http://schemas.microsoft.com/office/drawing/2014/main" id="{3D6CA4FD-BC24-B0D1-8DA0-14446031A22F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673612" y="4108740"/>
            <a:ext cx="670890" cy="670890"/>
          </a:xfrm>
          <a:prstGeom prst="rect">
            <a:avLst/>
          </a:prstGeom>
        </p:spPr>
      </p:pic>
      <p:pic>
        <p:nvPicPr>
          <p:cNvPr id="21" name="Grafik 20">
            <a:hlinkClick r:id="rId14"/>
            <a:extLst>
              <a:ext uri="{FF2B5EF4-FFF2-40B4-BE49-F238E27FC236}">
                <a16:creationId xmlns:a16="http://schemas.microsoft.com/office/drawing/2014/main" id="{CCFD9F13-8059-2C46-CBD9-7C0E07B326A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2197144" y="4117884"/>
            <a:ext cx="670890" cy="670890"/>
          </a:xfrm>
          <a:prstGeom prst="rect">
            <a:avLst/>
          </a:prstGeom>
        </p:spPr>
      </p:pic>
      <p:pic>
        <p:nvPicPr>
          <p:cNvPr id="22" name="Grafik 21">
            <a:hlinkClick r:id="rId17"/>
            <a:extLst>
              <a:ext uri="{FF2B5EF4-FFF2-40B4-BE49-F238E27FC236}">
                <a16:creationId xmlns:a16="http://schemas.microsoft.com/office/drawing/2014/main" id="{A69367FF-6746-CE23-F43F-81DAACDD94F3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2681776" y="4108740"/>
            <a:ext cx="670890" cy="67089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D2630BCA-4735-6C52-1FAC-90D9854BCCB3}"/>
              </a:ext>
            </a:extLst>
          </p:cNvPr>
          <p:cNvSpPr txBox="1"/>
          <p:nvPr userDrawn="1"/>
        </p:nvSpPr>
        <p:spPr>
          <a:xfrm>
            <a:off x="707246" y="1342355"/>
            <a:ext cx="2500313" cy="520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685640" rtl="0" eaLnBrk="1" latinLnBrk="0" hangingPunct="1">
              <a:lnSpc>
                <a:spcPts val="4000"/>
              </a:lnSpc>
              <a:spcBef>
                <a:spcPct val="0"/>
              </a:spcBef>
              <a:buNone/>
            </a:pPr>
            <a:r>
              <a:rPr lang="de-DE" sz="4000" b="1" i="0" kern="1200" dirty="0">
                <a:solidFill>
                  <a:schemeClr val="bg2"/>
                </a:solidFill>
                <a:latin typeface="Rajdhani Bold" panose="02000000000000000000" pitchFamily="2" charset="0"/>
                <a:ea typeface="+mj-ea"/>
              </a:rPr>
              <a:t>Kontakt</a:t>
            </a:r>
          </a:p>
        </p:txBody>
      </p:sp>
      <p:sp>
        <p:nvSpPr>
          <p:cNvPr id="25" name="Textplatzhalter 25">
            <a:extLst>
              <a:ext uri="{FF2B5EF4-FFF2-40B4-BE49-F238E27FC236}">
                <a16:creationId xmlns:a16="http://schemas.microsoft.com/office/drawing/2014/main" id="{74EF7B73-0257-6DFB-8A30-E9ECD1CFD4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3215" y="2088812"/>
            <a:ext cx="3594482" cy="304272"/>
          </a:xfrm>
        </p:spPr>
        <p:txBody>
          <a:bodyPr lIns="0" tIns="0" rIns="0" bIns="0" numCol="1" spcCol="39600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ts val="195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2"/>
                </a:solidFill>
                <a:latin typeface="Rajdhani Bold" panose="02000000000000000000" pitchFamily="2" charset="0"/>
                <a:cs typeface="Rajdhani Bold" panose="02000000000000000000" pitchFamily="2" charset="0"/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D8F898B2-E3D2-794D-0B93-A04EAA3578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215" y="2372852"/>
            <a:ext cx="3594482" cy="304272"/>
          </a:xfrm>
        </p:spPr>
        <p:txBody>
          <a:bodyPr lIns="0" tIns="0" rIns="0" bIns="0" numCol="1" spcCol="39600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ts val="195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accent2"/>
                </a:solidFill>
                <a:latin typeface="Nunito Sans Light" pitchFamily="2" charset="77"/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Position | Abteilung</a:t>
            </a:r>
          </a:p>
        </p:txBody>
      </p:sp>
      <p:sp>
        <p:nvSpPr>
          <p:cNvPr id="30" name="Textplatzhalter 25">
            <a:extLst>
              <a:ext uri="{FF2B5EF4-FFF2-40B4-BE49-F238E27FC236}">
                <a16:creationId xmlns:a16="http://schemas.microsoft.com/office/drawing/2014/main" id="{B0D16A00-853F-EC67-06DA-9D7C6CC466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215" y="2856907"/>
            <a:ext cx="281371" cy="1267029"/>
          </a:xfrm>
        </p:spPr>
        <p:txBody>
          <a:bodyPr lIns="0" tIns="0" rIns="0" bIns="0" numCol="1" spcCol="39600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>
                <a:tab pos="434975" algn="l"/>
              </a:tabLst>
              <a:defRPr sz="1600" b="1" i="0">
                <a:solidFill>
                  <a:schemeClr val="bg2"/>
                </a:solidFill>
                <a:latin typeface="Nunito Sans Light" pitchFamily="2" charset="0"/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T ME</a:t>
            </a:r>
          </a:p>
          <a:p>
            <a:pPr lvl="0"/>
            <a:r>
              <a:rPr lang="de-DE" dirty="0"/>
              <a:t>W</a:t>
            </a:r>
          </a:p>
        </p:txBody>
      </p:sp>
      <p:sp>
        <p:nvSpPr>
          <p:cNvPr id="31" name="Textplatzhalter 25">
            <a:extLst>
              <a:ext uri="{FF2B5EF4-FFF2-40B4-BE49-F238E27FC236}">
                <a16:creationId xmlns:a16="http://schemas.microsoft.com/office/drawing/2014/main" id="{E8E767A5-3303-AFEB-F8F7-85F62671E1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33839" y="2856907"/>
            <a:ext cx="3173858" cy="1267029"/>
          </a:xfrm>
        </p:spPr>
        <p:txBody>
          <a:bodyPr lIns="0" tIns="0" rIns="0" bIns="0" numCol="1" spcCol="39600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>
                <a:tab pos="434975" algn="l"/>
              </a:tabLst>
              <a:defRPr sz="1600" b="0" i="0">
                <a:solidFill>
                  <a:schemeClr val="bg2"/>
                </a:solidFill>
                <a:latin typeface="Nunito Sans Light" pitchFamily="2" charset="77"/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+ 49 11 62140-0</a:t>
            </a:r>
          </a:p>
          <a:p>
            <a:pPr lvl="0"/>
            <a:r>
              <a:rPr lang="de-DE" dirty="0"/>
              <a:t>+ 49 163 62 14 520</a:t>
            </a:r>
          </a:p>
          <a:p>
            <a:pPr lvl="0"/>
            <a:r>
              <a:rPr lang="de-DE" dirty="0" err="1"/>
              <a:t>Muster_d@vdi.de</a:t>
            </a:r>
            <a:endParaRPr lang="de-DE" dirty="0"/>
          </a:p>
          <a:p>
            <a:pPr lvl="0"/>
            <a:r>
              <a:rPr lang="de-DE" dirty="0" err="1"/>
              <a:t>vdi.de</a:t>
            </a:r>
            <a:endParaRPr lang="de-DE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19E1B2A-254E-DB5D-02B7-D419285609BF}"/>
              </a:ext>
            </a:extLst>
          </p:cNvPr>
          <p:cNvSpPr txBox="1"/>
          <p:nvPr userDrawn="1"/>
        </p:nvSpPr>
        <p:spPr>
          <a:xfrm>
            <a:off x="6880289" y="4158707"/>
            <a:ext cx="162337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4000" b="1" i="0" kern="1200" dirty="0">
                <a:solidFill>
                  <a:schemeClr val="bg2"/>
                </a:solidFill>
                <a:latin typeface="Rajdhani Bold" panose="02000000000000000000" pitchFamily="2" charset="0"/>
                <a:ea typeface="+mj-ea"/>
                <a:cs typeface="+mn-cs"/>
              </a:rPr>
              <a:t>Danke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9C8B0268-0809-1A48-FCEE-0B632CEC9608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1098" y="5199561"/>
            <a:ext cx="569062" cy="353544"/>
          </a:xfrm>
          <a:prstGeom prst="rect">
            <a:avLst/>
          </a:prstGeom>
        </p:spPr>
      </p:pic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57FA18BE-49A4-7784-B7B2-0D5E741D89F1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CCE94BD-EA07-7C72-46F0-E38DB6D5177C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553BB773-8930-B045-7097-2B9106B1535C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46A0F52E-22E0-5793-BB2B-79E27BF4D08F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40" name="Date Placeholder 3">
            <a:extLst>
              <a:ext uri="{FF2B5EF4-FFF2-40B4-BE49-F238E27FC236}">
                <a16:creationId xmlns:a16="http://schemas.microsoft.com/office/drawing/2014/main" id="{C8DE0813-1EAA-95FE-8B27-7CC1F85887F3}"/>
              </a:ext>
            </a:extLst>
          </p:cNvPr>
          <p:cNvSpPr txBox="1">
            <a:spLocks/>
          </p:cNvSpPr>
          <p:nvPr userDrawn="1"/>
        </p:nvSpPr>
        <p:spPr>
          <a:xfrm>
            <a:off x="7050185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chemeClr val="bg2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chemeClr val="bg2"/>
              </a:solidFill>
              <a:latin typeface="Nunito Sans Light" pitchFamily="2" charset="77"/>
            </a:endParaRPr>
          </a:p>
        </p:txBody>
      </p:sp>
      <p:sp>
        <p:nvSpPr>
          <p:cNvPr id="45" name="Datumsplatzhalter 17">
            <a:extLst>
              <a:ext uri="{FF2B5EF4-FFF2-40B4-BE49-F238E27FC236}">
                <a16:creationId xmlns:a16="http://schemas.microsoft.com/office/drawing/2014/main" id="{C15E66DE-644E-B4B1-B917-C7418E8C4D5A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/>
                </a:solidFill>
                <a:latin typeface="Nunito Sans Light" pitchFamily="2" charset="77"/>
              </a:defRPr>
            </a:lvl1pPr>
          </a:lstStyle>
          <a:p>
            <a:fld id="{5F877A5E-3BCB-4BC6-81A9-692D807CFE9C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2A7EA1DB-5E74-DD8E-1E93-20267D01926C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chemeClr val="bg2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C3DA421-F777-E3B9-37B9-B3B370C62D6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22493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F2BF0728-1B7E-E82E-8D57-6A5451044BF0}"/>
              </a:ext>
            </a:extLst>
          </p:cNvPr>
          <p:cNvSpPr txBox="1">
            <a:spLocks/>
          </p:cNvSpPr>
          <p:nvPr userDrawn="1"/>
        </p:nvSpPr>
        <p:spPr>
          <a:xfrm>
            <a:off x="8184983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D5054F6-6491-8548-A6AB-E69F0D62098E}" type="slidenum">
              <a:rPr lang="de-DE" sz="900" b="0" i="0" smtClean="0">
                <a:solidFill>
                  <a:schemeClr val="bg2"/>
                </a:solidFill>
                <a:latin typeface="Nunito Sans Light" pitchFamily="2" charset="77"/>
              </a:rPr>
              <a:pPr algn="l"/>
              <a:t>‹Nr.›</a:t>
            </a:fld>
            <a:endParaRPr lang="de-DE" sz="900" b="0" i="0" dirty="0">
              <a:solidFill>
                <a:schemeClr val="bg2"/>
              </a:solidFill>
              <a:latin typeface="Nunito Sans Light" pitchFamily="2" charset="77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93399AE2-86A8-D2FF-AD61-261920DD2295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307C016-183E-9D82-6F9A-7B5D35BA755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03FD9EE-FF45-32EB-D51A-6D3A4DE7A659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ACE63316-5F62-3D0F-FCAF-08496B419C2C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E6AF958-438B-5828-395A-0B3756CBA8ED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E361B75B-D784-2B30-AD4D-3259DF63AE7B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82F3B3F1-045F-6FD4-81FE-16D8C64AD60D}"/>
              </a:ext>
            </a:extLst>
          </p:cNvPr>
          <p:cNvSpPr txBox="1">
            <a:spLocks/>
          </p:cNvSpPr>
          <p:nvPr userDrawn="1"/>
        </p:nvSpPr>
        <p:spPr>
          <a:xfrm>
            <a:off x="7050189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5300FEA8-38AC-DF31-DD9E-12EF343C492D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 30">
            <a:extLst>
              <a:ext uri="{FF2B5EF4-FFF2-40B4-BE49-F238E27FC236}">
                <a16:creationId xmlns:a16="http://schemas.microsoft.com/office/drawing/2014/main" id="{BAE66846-E721-B5F7-A9BF-63E5CA416A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6E46EDF2-1D3F-ED82-3D76-C23AB12B34F0}"/>
              </a:ext>
            </a:extLst>
          </p:cNvPr>
          <p:cNvGrpSpPr/>
          <p:nvPr userDrawn="1"/>
        </p:nvGrpSpPr>
        <p:grpSpPr>
          <a:xfrm>
            <a:off x="577838" y="1674934"/>
            <a:ext cx="2783552" cy="2240421"/>
            <a:chOff x="782638" y="2272567"/>
            <a:chExt cx="2265126" cy="1823151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A8849FC2-58C8-A6CC-3C52-01B368D44C03}"/>
                </a:ext>
              </a:extLst>
            </p:cNvPr>
            <p:cNvSpPr/>
            <p:nvPr/>
          </p:nvSpPr>
          <p:spPr>
            <a:xfrm>
              <a:off x="782638" y="2497601"/>
              <a:ext cx="2040093" cy="159811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74"/>
            </a:p>
          </p:txBody>
        </p: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1C711D21-2722-1A53-CFF3-7FC35943DE21}"/>
                </a:ext>
              </a:extLst>
            </p:cNvPr>
            <p:cNvGrpSpPr/>
            <p:nvPr/>
          </p:nvGrpSpPr>
          <p:grpSpPr>
            <a:xfrm>
              <a:off x="2353341" y="2272567"/>
              <a:ext cx="694423" cy="691425"/>
              <a:chOff x="5695783" y="5440101"/>
              <a:chExt cx="2057603" cy="2048719"/>
            </a:xfrm>
          </p:grpSpPr>
          <p:sp>
            <p:nvSpPr>
              <p:cNvPr id="36" name="Rechteck 35">
                <a:extLst>
                  <a:ext uri="{FF2B5EF4-FFF2-40B4-BE49-F238E27FC236}">
                    <a16:creationId xmlns:a16="http://schemas.microsoft.com/office/drawing/2014/main" id="{5B30F92E-500B-8C0E-DC5D-5803065779A5}"/>
                  </a:ext>
                </a:extLst>
              </p:cNvPr>
              <p:cNvSpPr/>
              <p:nvPr/>
            </p:nvSpPr>
            <p:spPr>
              <a:xfrm>
                <a:off x="5695783" y="5440101"/>
                <a:ext cx="2048719" cy="66678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74"/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6B6A3BA1-65C5-FC63-5CF3-AD1202B91965}"/>
                  </a:ext>
                </a:extLst>
              </p:cNvPr>
              <p:cNvSpPr/>
              <p:nvPr/>
            </p:nvSpPr>
            <p:spPr>
              <a:xfrm rot="16200000">
                <a:off x="6395634" y="6131068"/>
                <a:ext cx="2048719" cy="6667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74"/>
              </a:p>
            </p:txBody>
          </p:sp>
        </p:grp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8103FC72-0BC3-4116-D90D-7D5157B0512B}"/>
                </a:ext>
              </a:extLst>
            </p:cNvPr>
            <p:cNvSpPr txBox="1"/>
            <p:nvPr/>
          </p:nvSpPr>
          <p:spPr>
            <a:xfrm>
              <a:off x="783779" y="2497602"/>
              <a:ext cx="2040093" cy="1598116"/>
            </a:xfrm>
            <a:prstGeom prst="rect">
              <a:avLst/>
            </a:prstGeom>
            <a:noFill/>
          </p:spPr>
          <p:txBody>
            <a:bodyPr wrap="square" lIns="125999" tIns="125999" rIns="108000" bIns="0" rtlCol="0" anchor="ctr">
              <a:noAutofit/>
            </a:bodyPr>
            <a:lstStyle/>
            <a:p>
              <a:pPr>
                <a:lnSpc>
                  <a:spcPts val="4500"/>
                </a:lnSpc>
              </a:pPr>
              <a:r>
                <a:rPr lang="de-DE" sz="4500" b="1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Wir</a:t>
              </a:r>
            </a:p>
            <a:p>
              <a:pPr>
                <a:lnSpc>
                  <a:spcPts val="4500"/>
                </a:lnSpc>
              </a:pPr>
              <a:r>
                <a:rPr lang="de-DE" sz="4500" b="1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gestalten</a:t>
              </a:r>
            </a:p>
            <a:p>
              <a:pPr>
                <a:lnSpc>
                  <a:spcPts val="4500"/>
                </a:lnSpc>
              </a:pPr>
              <a:r>
                <a:rPr lang="de-DE" sz="4500" b="1" dirty="0">
                  <a:solidFill>
                    <a:srgbClr val="9DD0F4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Zukunft</a:t>
              </a: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F2B0E8CF-7174-1415-F32C-A03644BDEBDB}"/>
              </a:ext>
            </a:extLst>
          </p:cNvPr>
          <p:cNvSpPr txBox="1"/>
          <p:nvPr userDrawn="1"/>
        </p:nvSpPr>
        <p:spPr>
          <a:xfrm>
            <a:off x="4571999" y="1342355"/>
            <a:ext cx="250031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4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</a:rPr>
              <a:t>Kontakt</a:t>
            </a:r>
          </a:p>
        </p:txBody>
      </p:sp>
      <p:sp>
        <p:nvSpPr>
          <p:cNvPr id="39" name="Textplatzhalter 25">
            <a:extLst>
              <a:ext uri="{FF2B5EF4-FFF2-40B4-BE49-F238E27FC236}">
                <a16:creationId xmlns:a16="http://schemas.microsoft.com/office/drawing/2014/main" id="{3AE3BAA2-99AD-ACA7-EE0D-3D936653BD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7968" y="2088812"/>
            <a:ext cx="3594482" cy="304272"/>
          </a:xfrm>
        </p:spPr>
        <p:txBody>
          <a:bodyPr lIns="0" tIns="0" rIns="0" bIns="0" numCol="1" spcCol="39600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ts val="195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Rajdhani Bold" panose="02000000000000000000" pitchFamily="2" charset="0"/>
                <a:cs typeface="Rajdhani Bold" panose="02000000000000000000" pitchFamily="2" charset="0"/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0" name="Textplatzhalter 25">
            <a:extLst>
              <a:ext uri="{FF2B5EF4-FFF2-40B4-BE49-F238E27FC236}">
                <a16:creationId xmlns:a16="http://schemas.microsoft.com/office/drawing/2014/main" id="{4FD6E482-2737-CDAE-9430-003DDEC33C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7968" y="2372852"/>
            <a:ext cx="3594482" cy="304272"/>
          </a:xfrm>
        </p:spPr>
        <p:txBody>
          <a:bodyPr lIns="0" tIns="0" rIns="0" bIns="0" numCol="1" spcCol="39600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ts val="195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Nunito Sans Light" pitchFamily="2" charset="77"/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Position | Abteilung</a:t>
            </a:r>
          </a:p>
        </p:txBody>
      </p:sp>
      <p:sp>
        <p:nvSpPr>
          <p:cNvPr id="42" name="Textplatzhalter 25">
            <a:extLst>
              <a:ext uri="{FF2B5EF4-FFF2-40B4-BE49-F238E27FC236}">
                <a16:creationId xmlns:a16="http://schemas.microsoft.com/office/drawing/2014/main" id="{D777260D-ADDF-34DA-F1AE-69054A0AF4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7968" y="2856907"/>
            <a:ext cx="281371" cy="1267029"/>
          </a:xfrm>
        </p:spPr>
        <p:txBody>
          <a:bodyPr lIns="0" tIns="0" rIns="0" bIns="0" numCol="1" spcCol="39600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>
                <a:tab pos="434975" algn="l"/>
              </a:tabLst>
              <a:defRPr sz="1600" b="1" i="0">
                <a:solidFill>
                  <a:srgbClr val="000000"/>
                </a:solidFill>
                <a:latin typeface="Nunito Sans Light" pitchFamily="2" charset="0"/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T ME</a:t>
            </a:r>
          </a:p>
          <a:p>
            <a:pPr lvl="0"/>
            <a:r>
              <a:rPr lang="de-DE" dirty="0"/>
              <a:t>W</a:t>
            </a:r>
          </a:p>
        </p:txBody>
      </p:sp>
      <p:sp>
        <p:nvSpPr>
          <p:cNvPr id="43" name="Textplatzhalter 25">
            <a:extLst>
              <a:ext uri="{FF2B5EF4-FFF2-40B4-BE49-F238E27FC236}">
                <a16:creationId xmlns:a16="http://schemas.microsoft.com/office/drawing/2014/main" id="{C0170913-3F9D-773E-8192-3361C6B89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8592" y="2856907"/>
            <a:ext cx="3173858" cy="1267029"/>
          </a:xfrm>
        </p:spPr>
        <p:txBody>
          <a:bodyPr lIns="0" tIns="0" rIns="0" bIns="0" numCol="1" spcCol="39600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>
                <a:tab pos="434975" algn="l"/>
              </a:tabLst>
              <a:defRPr sz="1600" b="0" i="0">
                <a:solidFill>
                  <a:srgbClr val="000000"/>
                </a:solidFill>
                <a:latin typeface="Nunito Sans Light" pitchFamily="2" charset="77"/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+ 49 11 62140-0</a:t>
            </a:r>
          </a:p>
          <a:p>
            <a:pPr lvl="0"/>
            <a:r>
              <a:rPr lang="de-DE" dirty="0"/>
              <a:t>+ 49 163 62 14 520</a:t>
            </a:r>
          </a:p>
          <a:p>
            <a:pPr lvl="0"/>
            <a:r>
              <a:rPr lang="de-DE" dirty="0" err="1"/>
              <a:t>Muster_d@vdi.de</a:t>
            </a:r>
            <a:endParaRPr lang="de-DE" dirty="0"/>
          </a:p>
          <a:p>
            <a:pPr lvl="0"/>
            <a:r>
              <a:rPr lang="de-DE" dirty="0" err="1"/>
              <a:t>vdi.de</a:t>
            </a:r>
            <a:endParaRPr lang="de-DE" dirty="0"/>
          </a:p>
        </p:txBody>
      </p:sp>
      <p:pic>
        <p:nvPicPr>
          <p:cNvPr id="44" name="Grafik 43">
            <a:hlinkClick r:id="rId3"/>
            <a:extLst>
              <a:ext uri="{FF2B5EF4-FFF2-40B4-BE49-F238E27FC236}">
                <a16:creationId xmlns:a16="http://schemas.microsoft.com/office/drawing/2014/main" id="{71BF9F40-2261-B98C-9084-B02DF918D9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013945" y="4286007"/>
            <a:ext cx="670890" cy="670890"/>
          </a:xfrm>
          <a:prstGeom prst="rect">
            <a:avLst/>
          </a:prstGeom>
        </p:spPr>
      </p:pic>
      <p:pic>
        <p:nvPicPr>
          <p:cNvPr id="45" name="Grafik 44">
            <a:hlinkClick r:id="rId6"/>
            <a:extLst>
              <a:ext uri="{FF2B5EF4-FFF2-40B4-BE49-F238E27FC236}">
                <a16:creationId xmlns:a16="http://schemas.microsoft.com/office/drawing/2014/main" id="{815DA136-8CBE-08BF-8F3B-8A24622352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478174" y="4267719"/>
            <a:ext cx="670890" cy="670890"/>
          </a:xfrm>
          <a:prstGeom prst="rect">
            <a:avLst/>
          </a:prstGeom>
        </p:spPr>
      </p:pic>
      <p:pic>
        <p:nvPicPr>
          <p:cNvPr id="46" name="Grafik 45">
            <a:hlinkClick r:id="rId9"/>
            <a:extLst>
              <a:ext uri="{FF2B5EF4-FFF2-40B4-BE49-F238E27FC236}">
                <a16:creationId xmlns:a16="http://schemas.microsoft.com/office/drawing/2014/main" id="{AB3A8EBE-1F07-77A3-6B04-13E97F056FD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054246" y="4267719"/>
            <a:ext cx="670890" cy="670890"/>
          </a:xfrm>
          <a:prstGeom prst="rect">
            <a:avLst/>
          </a:prstGeom>
        </p:spPr>
      </p:pic>
      <p:pic>
        <p:nvPicPr>
          <p:cNvPr id="47" name="Grafik 46">
            <a:hlinkClick r:id="rId12"/>
            <a:extLst>
              <a:ext uri="{FF2B5EF4-FFF2-40B4-BE49-F238E27FC236}">
                <a16:creationId xmlns:a16="http://schemas.microsoft.com/office/drawing/2014/main" id="{209D95C2-24FB-4F27-48CA-080EC038274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511446" y="4267719"/>
            <a:ext cx="670890" cy="670890"/>
          </a:xfrm>
          <a:prstGeom prst="rect">
            <a:avLst/>
          </a:prstGeom>
        </p:spPr>
      </p:pic>
      <p:pic>
        <p:nvPicPr>
          <p:cNvPr id="48" name="Grafik 47">
            <a:hlinkClick r:id="rId15"/>
            <a:extLst>
              <a:ext uri="{FF2B5EF4-FFF2-40B4-BE49-F238E27FC236}">
                <a16:creationId xmlns:a16="http://schemas.microsoft.com/office/drawing/2014/main" id="{4241AB32-3BE1-CCAB-B5D3-D4EE1011D197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6034978" y="4276863"/>
            <a:ext cx="670890" cy="670890"/>
          </a:xfrm>
          <a:prstGeom prst="rect">
            <a:avLst/>
          </a:prstGeom>
        </p:spPr>
      </p:pic>
      <p:pic>
        <p:nvPicPr>
          <p:cNvPr id="49" name="Grafik 48">
            <a:hlinkClick r:id="rId18"/>
            <a:extLst>
              <a:ext uri="{FF2B5EF4-FFF2-40B4-BE49-F238E27FC236}">
                <a16:creationId xmlns:a16="http://schemas.microsoft.com/office/drawing/2014/main" id="{3127A671-0DA2-40D1-A59B-A4BB87906E5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519610" y="4267719"/>
            <a:ext cx="670890" cy="670890"/>
          </a:xfrm>
          <a:prstGeom prst="rect">
            <a:avLst/>
          </a:prstGeom>
        </p:spPr>
      </p:pic>
      <p:sp>
        <p:nvSpPr>
          <p:cNvPr id="52" name="Datumsplatzhalter 17">
            <a:extLst>
              <a:ext uri="{FF2B5EF4-FFF2-40B4-BE49-F238E27FC236}">
                <a16:creationId xmlns:a16="http://schemas.microsoft.com/office/drawing/2014/main" id="{595A4480-2C93-F691-F981-A8B0C458C1B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C02F03BA-4CBA-48CF-91C0-2A6CB2539BA8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38" name="Date Placeholder 3">
            <a:extLst>
              <a:ext uri="{FF2B5EF4-FFF2-40B4-BE49-F238E27FC236}">
                <a16:creationId xmlns:a16="http://schemas.microsoft.com/office/drawing/2014/main" id="{2A9694A5-2EBF-D684-5F70-9354AFB9B3AD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51" name="Fußzeilenplatzhalter 1">
            <a:extLst>
              <a:ext uri="{FF2B5EF4-FFF2-40B4-BE49-F238E27FC236}">
                <a16:creationId xmlns:a16="http://schemas.microsoft.com/office/drawing/2014/main" id="{915339D5-6EAA-427D-034E-C5E9461CC82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056861" y="5272876"/>
            <a:ext cx="2511420" cy="335840"/>
          </a:xfrm>
        </p:spPr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87698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4E45DB6-322F-C98A-521A-9DFC07665148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651917A-094E-9C18-5C35-16FEF5885583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8E964CE3-97CD-53D5-FD7F-36F7921AF69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5E9B4AEF-B447-6498-1D42-214271927F6B}"/>
              </a:ext>
            </a:extLst>
          </p:cNvPr>
          <p:cNvSpPr txBox="1">
            <a:spLocks/>
          </p:cNvSpPr>
          <p:nvPr userDrawn="1"/>
        </p:nvSpPr>
        <p:spPr>
          <a:xfrm>
            <a:off x="7050188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6" name="Gerade Verbindung 25">
            <a:extLst>
              <a:ext uri="{FF2B5EF4-FFF2-40B4-BE49-F238E27FC236}">
                <a16:creationId xmlns:a16="http://schemas.microsoft.com/office/drawing/2014/main" id="{7F3F61B2-7BBA-318E-75A4-1AF992A70C6B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0F3799F5-5E0D-904A-FE3F-1D3277452B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8" name="Datumsplatzhalter 17">
            <a:extLst>
              <a:ext uri="{FF2B5EF4-FFF2-40B4-BE49-F238E27FC236}">
                <a16:creationId xmlns:a16="http://schemas.microsoft.com/office/drawing/2014/main" id="{4F23FBB6-42FA-925A-F668-5298A8B492B4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38E060D3-A5CD-4595-BDC7-C8C9D9AB610F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5BDDCBC-2F38-54B6-02B4-EAF8D1F5FF6C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61F4C033-794D-FF93-37C6-0791818E1ED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056861" y="5272876"/>
            <a:ext cx="2511420" cy="335840"/>
          </a:xfrm>
        </p:spPr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8159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el 1">
            <a:extLst>
              <a:ext uri="{FF2B5EF4-FFF2-40B4-BE49-F238E27FC236}">
                <a16:creationId xmlns:a16="http://schemas.microsoft.com/office/drawing/2014/main" id="{8D7E7EFC-5313-1AC9-5345-21FD009E5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9863" y="972000"/>
            <a:ext cx="6740026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Inhalt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sp>
        <p:nvSpPr>
          <p:cNvPr id="33" name="Inhaltsplatzhalter 32">
            <a:extLst>
              <a:ext uri="{FF2B5EF4-FFF2-40B4-BE49-F238E27FC236}">
                <a16:creationId xmlns:a16="http://schemas.microsoft.com/office/drawing/2014/main" id="{768FC36B-B76E-141D-0900-0EB6B118C33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73686" y="1822466"/>
            <a:ext cx="4608000" cy="253916"/>
          </a:xfrm>
        </p:spPr>
        <p:txBody>
          <a:bodyPr wrap="square">
            <a:spAutoFit/>
          </a:bodyPr>
          <a:lstStyle>
            <a:lvl1pPr marL="0" indent="0">
              <a:lnSpc>
                <a:spcPts val="1950"/>
              </a:lnSpc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de-DE" dirty="0"/>
              <a:t>Inhalt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or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endParaRPr lang="de-DE" dirty="0"/>
          </a:p>
        </p:txBody>
      </p:sp>
      <p:sp>
        <p:nvSpPr>
          <p:cNvPr id="38" name="Inhaltsplatzhalter 32">
            <a:extLst>
              <a:ext uri="{FF2B5EF4-FFF2-40B4-BE49-F238E27FC236}">
                <a16:creationId xmlns:a16="http://schemas.microsoft.com/office/drawing/2014/main" id="{0C3FC9B4-4A98-C86F-264D-406F7E8C7D9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3686" y="2411007"/>
            <a:ext cx="4608000" cy="227755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Inhalt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or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endParaRPr lang="de-DE" dirty="0"/>
          </a:p>
        </p:txBody>
      </p:sp>
      <p:sp>
        <p:nvSpPr>
          <p:cNvPr id="46" name="Inhaltsplatzhalter 32">
            <a:extLst>
              <a:ext uri="{FF2B5EF4-FFF2-40B4-BE49-F238E27FC236}">
                <a16:creationId xmlns:a16="http://schemas.microsoft.com/office/drawing/2014/main" id="{F291691E-351E-11DF-6D9D-99159940175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573686" y="2999548"/>
            <a:ext cx="4608000" cy="227755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Inhalt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or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endParaRPr lang="de-DE" dirty="0"/>
          </a:p>
        </p:txBody>
      </p:sp>
      <p:sp>
        <p:nvSpPr>
          <p:cNvPr id="49" name="Inhaltsplatzhalter 32">
            <a:extLst>
              <a:ext uri="{FF2B5EF4-FFF2-40B4-BE49-F238E27FC236}">
                <a16:creationId xmlns:a16="http://schemas.microsoft.com/office/drawing/2014/main" id="{024286AE-3EB2-C3E6-6A65-4BB6B021A4D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73686" y="3599630"/>
            <a:ext cx="4608000" cy="227755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Inhalt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or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endParaRPr lang="de-DE" dirty="0"/>
          </a:p>
        </p:txBody>
      </p:sp>
      <p:sp>
        <p:nvSpPr>
          <p:cNvPr id="53" name="Inhaltsplatzhalter 32">
            <a:extLst>
              <a:ext uri="{FF2B5EF4-FFF2-40B4-BE49-F238E27FC236}">
                <a16:creationId xmlns:a16="http://schemas.microsoft.com/office/drawing/2014/main" id="{22532673-1012-141E-8BF0-A6A105700F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573686" y="4197771"/>
            <a:ext cx="4608000" cy="227755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Inhalt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or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endParaRPr lang="de-DE" dirty="0"/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2A95261-827A-F846-502F-5C089E1DF1AA}"/>
              </a:ext>
            </a:extLst>
          </p:cNvPr>
          <p:cNvGrpSpPr/>
          <p:nvPr userDrawn="1"/>
        </p:nvGrpSpPr>
        <p:grpSpPr>
          <a:xfrm>
            <a:off x="1439863" y="1717048"/>
            <a:ext cx="992187" cy="992188"/>
            <a:chOff x="1429969" y="1717048"/>
            <a:chExt cx="973545" cy="97354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B45B2C26-CB31-9C40-3208-9D0BD2C0308A}"/>
                </a:ext>
              </a:extLst>
            </p:cNvPr>
            <p:cNvSpPr/>
            <p:nvPr userDrawn="1"/>
          </p:nvSpPr>
          <p:spPr>
            <a:xfrm>
              <a:off x="1429969" y="1717317"/>
              <a:ext cx="973545" cy="292064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9581DFCE-8EBB-E652-3B24-C3DC24F4899F}"/>
                </a:ext>
              </a:extLst>
            </p:cNvPr>
            <p:cNvSpPr/>
            <p:nvPr userDrawn="1"/>
          </p:nvSpPr>
          <p:spPr>
            <a:xfrm rot="5400000">
              <a:off x="1770708" y="2057788"/>
              <a:ext cx="973546" cy="292065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60" name="Textplatzhalter 5">
            <a:extLst>
              <a:ext uri="{FF2B5EF4-FFF2-40B4-BE49-F238E27FC236}">
                <a16:creationId xmlns:a16="http://schemas.microsoft.com/office/drawing/2014/main" id="{6A3BF3CA-E4EA-0D05-F456-C94359B40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29199" y="644400"/>
            <a:ext cx="6759125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Präsentationstitel bearbeiten</a:t>
            </a:r>
          </a:p>
        </p:txBody>
      </p:sp>
      <p:sp>
        <p:nvSpPr>
          <p:cNvPr id="32" name="Textplatzhalter 9">
            <a:extLst>
              <a:ext uri="{FF2B5EF4-FFF2-40B4-BE49-F238E27FC236}">
                <a16:creationId xmlns:a16="http://schemas.microsoft.com/office/drawing/2014/main" id="{C0DFFE3C-FF3C-B63B-C879-7673C48F40C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09791" y="1737562"/>
            <a:ext cx="545641" cy="384721"/>
          </a:xfrm>
        </p:spPr>
        <p:txBody>
          <a:bodyPr wrap="square">
            <a:spAutoFit/>
          </a:bodyPr>
          <a:lstStyle>
            <a:lvl1pPr marL="0" indent="0" algn="r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4F5BFB3E-318D-2604-4919-E8E4FE0D95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08746" y="2332566"/>
            <a:ext cx="545641" cy="384721"/>
          </a:xfrm>
        </p:spPr>
        <p:txBody>
          <a:bodyPr wrap="square">
            <a:spAutoFit/>
          </a:bodyPr>
          <a:lstStyle>
            <a:lvl1pPr marL="0" indent="0" algn="r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25E465C0-05B2-F09C-0EAB-FCB94CEB4A7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08745" y="2930912"/>
            <a:ext cx="545641" cy="384721"/>
          </a:xfrm>
        </p:spPr>
        <p:txBody>
          <a:bodyPr wrap="square">
            <a:spAutoFit/>
          </a:bodyPr>
          <a:lstStyle>
            <a:lvl1pPr marL="0" indent="0" algn="r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36C3CBC-B4B5-A914-FFA5-BB042BFE53F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08744" y="3531016"/>
            <a:ext cx="545641" cy="384721"/>
          </a:xfrm>
        </p:spPr>
        <p:txBody>
          <a:bodyPr wrap="square">
            <a:spAutoFit/>
          </a:bodyPr>
          <a:lstStyle>
            <a:lvl1pPr marL="0" indent="0" algn="r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42" name="Textplatzhalter 9">
            <a:extLst>
              <a:ext uri="{FF2B5EF4-FFF2-40B4-BE49-F238E27FC236}">
                <a16:creationId xmlns:a16="http://schemas.microsoft.com/office/drawing/2014/main" id="{A87E059C-9F2B-A31C-4286-DD64F6B2330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08744" y="4119287"/>
            <a:ext cx="545641" cy="384721"/>
          </a:xfrm>
        </p:spPr>
        <p:txBody>
          <a:bodyPr wrap="square">
            <a:spAutoFit/>
          </a:bodyPr>
          <a:lstStyle>
            <a:lvl1pPr marL="0" indent="0" algn="r" defTabSz="68564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de-DE" sz="3000" b="1" i="0" kern="1200" dirty="0">
                <a:solidFill>
                  <a:schemeClr val="tx1"/>
                </a:solidFill>
                <a:latin typeface="Rajdhani Bold" panose="02000000000000000000" pitchFamily="2" charset="0"/>
                <a:ea typeface="+mj-ea"/>
                <a:cs typeface="Rajdhani Bold" panose="02000000000000000000" pitchFamily="2" charset="0"/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87AC2597-82C8-D218-5B80-C7F3F083FB5F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C22EFB95-99CF-7213-0B97-640BC279F2A2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9B7DDC06-420E-95C3-D98C-676F2E9F7455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52" name="Date Placeholder 3">
            <a:extLst>
              <a:ext uri="{FF2B5EF4-FFF2-40B4-BE49-F238E27FC236}">
                <a16:creationId xmlns:a16="http://schemas.microsoft.com/office/drawing/2014/main" id="{5102CCBB-EE58-2A63-9EEE-D731838F1724}"/>
              </a:ext>
            </a:extLst>
          </p:cNvPr>
          <p:cNvSpPr txBox="1">
            <a:spLocks/>
          </p:cNvSpPr>
          <p:nvPr userDrawn="1"/>
        </p:nvSpPr>
        <p:spPr>
          <a:xfrm>
            <a:off x="7050180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55" name="Gerade Verbindung 25">
            <a:extLst>
              <a:ext uri="{FF2B5EF4-FFF2-40B4-BE49-F238E27FC236}">
                <a16:creationId xmlns:a16="http://schemas.microsoft.com/office/drawing/2014/main" id="{A1409296-0E7D-3D76-C7D8-473E51D5E6BE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>
            <a:extLst>
              <a:ext uri="{FF2B5EF4-FFF2-40B4-BE49-F238E27FC236}">
                <a16:creationId xmlns:a16="http://schemas.microsoft.com/office/drawing/2014/main" id="{815D7B8C-3CF8-6FA6-918F-F589E2D0F7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61" name="Datumsplatzhalter 17">
            <a:extLst>
              <a:ext uri="{FF2B5EF4-FFF2-40B4-BE49-F238E27FC236}">
                <a16:creationId xmlns:a16="http://schemas.microsoft.com/office/drawing/2014/main" id="{8A28B66D-BB4D-940F-22AC-2B4A34601BC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2000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64EDC93D-250C-4221-9031-4041107300EF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62" name="Date Placeholder 3">
            <a:extLst>
              <a:ext uri="{FF2B5EF4-FFF2-40B4-BE49-F238E27FC236}">
                <a16:creationId xmlns:a16="http://schemas.microsoft.com/office/drawing/2014/main" id="{66BE0CD3-ECA0-6F5A-7E03-AC6FC3D288B7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2F06BC2-13AA-2C15-38B3-744C19C27B79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236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klein_1-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97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2"/>
            <a:ext cx="7596450" cy="3332159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8" name="Datumsplatzhalter 17">
            <a:extLst>
              <a:ext uri="{FF2B5EF4-FFF2-40B4-BE49-F238E27FC236}">
                <a16:creationId xmlns:a16="http://schemas.microsoft.com/office/drawing/2014/main" id="{5EF72F66-9704-2ACC-C9DB-D3B38C9C031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47B7226B-605E-4DBC-9CBD-E8764A57CEB6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9936C1A6-2C1F-B4DD-68BB-0A8AC424743D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95145A-10C8-429F-64DF-9E620C2E41D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8897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klein_1-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97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2"/>
            <a:ext cx="7596450" cy="2582478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8" name="Datumsplatzhalter 17">
            <a:extLst>
              <a:ext uri="{FF2B5EF4-FFF2-40B4-BE49-F238E27FC236}">
                <a16:creationId xmlns:a16="http://schemas.microsoft.com/office/drawing/2014/main" id="{5EF72F66-9704-2ACC-C9DB-D3B38C9C031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D4776390-4C46-4477-9BB3-D89B5BCF7E6C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9936C1A6-2C1F-B4DD-68BB-0A8AC424743D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95145A-10C8-429F-64DF-9E620C2E41D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  <p:sp>
        <p:nvSpPr>
          <p:cNvPr id="18" name="Textplatzhalter 25">
            <a:extLst>
              <a:ext uri="{FF2B5EF4-FFF2-40B4-BE49-F238E27FC236}">
                <a16:creationId xmlns:a16="http://schemas.microsoft.com/office/drawing/2014/main" id="{F7A47EDE-2C95-643F-57A4-29FDF5A903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3438" y="4334550"/>
            <a:ext cx="7596449" cy="570821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lang="de-DE" sz="950" b="0" i="0" kern="1200" dirty="0">
                <a:solidFill>
                  <a:srgbClr val="777776"/>
                </a:solidFill>
                <a:latin typeface="Nunito Sans Light" pitchFamily="2" charset="77"/>
                <a:ea typeface="+mn-ea"/>
                <a:cs typeface="+mn-cs"/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Platz für Quellenangabe und Co. </a:t>
            </a:r>
          </a:p>
        </p:txBody>
      </p:sp>
    </p:spTree>
    <p:extLst>
      <p:ext uri="{BB962C8B-B14F-4D97-AF65-F5344CB8AC3E}">
        <p14:creationId xmlns:p14="http://schemas.microsoft.com/office/powerpoint/2010/main" val="2790088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klein_1-Spalte +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97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3"/>
            <a:ext cx="7596450" cy="259194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ein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8" name="Datumsplatzhalter 17">
            <a:extLst>
              <a:ext uri="{FF2B5EF4-FFF2-40B4-BE49-F238E27FC236}">
                <a16:creationId xmlns:a16="http://schemas.microsoft.com/office/drawing/2014/main" id="{5EF72F66-9704-2ACC-C9DB-D3B38C9C031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B014A143-BB03-40FF-BA1F-565A089ABD54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9936C1A6-2C1F-B4DD-68BB-0A8AC424743D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95145A-10C8-429F-64DF-9E620C2E41D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  <p:sp>
        <p:nvSpPr>
          <p:cNvPr id="18" name="Textplatzhalter 25">
            <a:extLst>
              <a:ext uri="{FF2B5EF4-FFF2-40B4-BE49-F238E27FC236}">
                <a16:creationId xmlns:a16="http://schemas.microsoft.com/office/drawing/2014/main" id="{0FECAC75-3441-3B86-B851-EBC5122ACE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3438" y="4333875"/>
            <a:ext cx="7596449" cy="571496"/>
          </a:xfrm>
        </p:spPr>
        <p:txBody>
          <a:bodyPr lIns="0" tIns="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 b="1">
                <a:solidFill>
                  <a:schemeClr val="tx1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Ein Fazit wird in fett und blau eingefügt</a:t>
            </a:r>
          </a:p>
        </p:txBody>
      </p:sp>
    </p:spTree>
    <p:extLst>
      <p:ext uri="{BB962C8B-B14F-4D97-AF65-F5344CB8AC3E}">
        <p14:creationId xmlns:p14="http://schemas.microsoft.com/office/powerpoint/2010/main" val="1775904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klein_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F852C2-F367-3FD1-1E22-E8FC5264CF89}"/>
              </a:ext>
            </a:extLst>
          </p:cNvPr>
          <p:cNvGrpSpPr/>
          <p:nvPr userDrawn="1"/>
        </p:nvGrpSpPr>
        <p:grpSpPr>
          <a:xfrm>
            <a:off x="692898" y="5336646"/>
            <a:ext cx="113885" cy="102665"/>
            <a:chOff x="923983" y="6403975"/>
            <a:chExt cx="151867" cy="123198"/>
          </a:xfrm>
          <a:noFill/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1429E5D-A101-B24B-CAA5-9FDB19323CED}"/>
                </a:ext>
              </a:extLst>
            </p:cNvPr>
            <p:cNvSpPr/>
            <p:nvPr userDrawn="1"/>
          </p:nvSpPr>
          <p:spPr>
            <a:xfrm>
              <a:off x="923983" y="6403975"/>
              <a:ext cx="143788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0528274-ECD9-5A4E-B049-EEB55138BB4C}"/>
                </a:ext>
              </a:extLst>
            </p:cNvPr>
            <p:cNvSpPr/>
            <p:nvPr userDrawn="1"/>
          </p:nvSpPr>
          <p:spPr>
            <a:xfrm rot="5400000">
              <a:off x="991392" y="6442715"/>
              <a:ext cx="123197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474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6209FAF-405C-75F0-75E9-22A490073445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95D4B9-FA46-E96A-2BAE-DC73EF345658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D2394101-4DD8-B564-CD78-BAE1DD40880C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00475C2B-293E-FC55-A8AD-D6139EAD0A33}"/>
              </a:ext>
            </a:extLst>
          </p:cNvPr>
          <p:cNvSpPr txBox="1">
            <a:spLocks/>
          </p:cNvSpPr>
          <p:nvPr userDrawn="1"/>
        </p:nvSpPr>
        <p:spPr>
          <a:xfrm>
            <a:off x="7050176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rgbClr val="000000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rgbClr val="000000"/>
              </a:solidFill>
              <a:latin typeface="Nunito Sans Light" pitchFamily="2" charset="77"/>
            </a:endParaRPr>
          </a:p>
        </p:txBody>
      </p: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883A55C-B748-2621-16D2-C83CD47025AC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241821FA-CA10-641E-4296-B363742692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098" y="5199561"/>
            <a:ext cx="569062" cy="353545"/>
          </a:xfrm>
          <a:prstGeom prst="rect">
            <a:avLst/>
          </a:prstGeom>
        </p:spPr>
      </p:pic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0F30AF4A-C040-6C1B-597D-EABC91187D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2"/>
            <a:ext cx="7596450" cy="3332159"/>
          </a:xfrm>
        </p:spPr>
        <p:txBody>
          <a:bodyPr lIns="0" tIns="0" rIns="0" bIns="0" numCol="2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950">
                <a:solidFill>
                  <a:srgbClr val="000000"/>
                </a:solidFill>
              </a:defRPr>
            </a:lvl1pPr>
            <a:lvl2pPr marL="12145" indent="0">
              <a:buNone/>
              <a:tabLst/>
              <a:defRPr sz="1440"/>
            </a:lvl2pPr>
            <a:lvl3pPr marL="12145" indent="0">
              <a:buNone/>
              <a:tabLst/>
              <a:defRPr sz="1260"/>
            </a:lvl3pPr>
            <a:lvl4pPr marL="12145" indent="0">
              <a:buNone/>
              <a:tabLst/>
              <a:defRPr sz="900"/>
            </a:lvl4pPr>
            <a:lvl5pPr marL="12145" indent="0">
              <a:buNone/>
              <a:tabLst/>
              <a:defRPr sz="900"/>
            </a:lvl5pPr>
          </a:lstStyle>
          <a:p>
            <a:pPr lvl="0"/>
            <a:r>
              <a:rPr lang="de-DE" dirty="0"/>
              <a:t>Hier kann ein zweispaltiger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8570AEE7-C1B4-670D-0C77-2ECEFA41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5E7732DD-2A34-4AE2-55BE-92D43FF84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80C3F2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sp>
        <p:nvSpPr>
          <p:cNvPr id="28" name="Datumsplatzhalter 17">
            <a:extLst>
              <a:ext uri="{FF2B5EF4-FFF2-40B4-BE49-F238E27FC236}">
                <a16:creationId xmlns:a16="http://schemas.microsoft.com/office/drawing/2014/main" id="{688D9204-724B-E162-2758-A6F700FAF51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>
                    <a:lumMod val="50000"/>
                  </a:schemeClr>
                </a:solidFill>
                <a:latin typeface="Nunito Sans Light" pitchFamily="2" charset="77"/>
              </a:defRPr>
            </a:lvl1pPr>
          </a:lstStyle>
          <a:p>
            <a:fld id="{5DD853C0-F03D-4FCC-A150-F40EADA1FA4E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3BA50DFC-2350-0C7A-C228-4A61A3A457BE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rgbClr val="777776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136124E-95DC-FD84-1A9D-0B626BF4521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8232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Fließtext BLAU _14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D38876D9-0B83-7F43-BC28-B87C763DA5BA}"/>
              </a:ext>
            </a:extLst>
          </p:cNvPr>
          <p:cNvSpPr/>
          <p:nvPr userDrawn="1"/>
        </p:nvSpPr>
        <p:spPr>
          <a:xfrm>
            <a:off x="0" y="269"/>
            <a:ext cx="9144000" cy="5715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4"/>
          </a:p>
        </p:txBody>
      </p:sp>
      <p:sp>
        <p:nvSpPr>
          <p:cNvPr id="12" name="Textplatzhalter 25">
            <a:extLst>
              <a:ext uri="{FF2B5EF4-FFF2-40B4-BE49-F238E27FC236}">
                <a16:creationId xmlns:a16="http://schemas.microsoft.com/office/drawing/2014/main" id="{36058806-D671-B147-83B4-2D2E71B737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1573217"/>
            <a:ext cx="7603890" cy="3332157"/>
          </a:xfrm>
        </p:spPr>
        <p:txBody>
          <a:bodyPr lIns="0" tIns="0" rIns="0" bIns="0" numCol="1" spcCol="540000" anchor="t">
            <a:normAutofit/>
          </a:bodyPr>
          <a:lstStyle>
            <a:lvl1pPr marL="0" marR="0" indent="0" algn="l" defTabSz="68564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Nunito Sans Light" pitchFamily="2" charset="77"/>
              </a:defRPr>
            </a:lvl1pPr>
            <a:lvl2pPr marL="9108" indent="0">
              <a:buNone/>
              <a:tabLst/>
              <a:defRPr sz="1080"/>
            </a:lvl2pPr>
            <a:lvl3pPr marL="9108" indent="0">
              <a:buNone/>
              <a:tabLst/>
              <a:defRPr sz="945"/>
            </a:lvl3pPr>
            <a:lvl4pPr marL="9108" indent="0">
              <a:buNone/>
              <a:tabLst/>
              <a:defRPr sz="675"/>
            </a:lvl4pPr>
            <a:lvl5pPr marL="9108" indent="0">
              <a:buNone/>
              <a:tabLst/>
              <a:defRPr sz="675"/>
            </a:lvl5pPr>
          </a:lstStyle>
          <a:p>
            <a:pPr lvl="0"/>
            <a:r>
              <a:rPr lang="de-DE" dirty="0"/>
              <a:t>Hier kann ein  Fließtext steh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CDAEBE1-A1C1-E5D8-7F73-E66F65D24B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84721"/>
          </a:xfrm>
        </p:spPr>
        <p:txBody>
          <a:bodyPr/>
          <a:lstStyle>
            <a:lvl1pPr marL="0" indent="0">
              <a:tabLst>
                <a:tab pos="5643563" algn="l"/>
              </a:tabLst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4F0CBEC8-8E2A-8796-0C22-CE347C3F7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44400"/>
            <a:ext cx="7603889" cy="227755"/>
          </a:xfrm>
        </p:spPr>
        <p:txBody>
          <a:bodyPr wrap="square">
            <a:spAutoFit/>
          </a:bodyPr>
          <a:lstStyle>
            <a:lvl1pPr marL="0" indent="0">
              <a:buNone/>
              <a:defRPr b="1" i="0">
                <a:solidFill>
                  <a:srgbClr val="9DD0F4"/>
                </a:solidFill>
                <a:latin typeface="Nunito Sans Light" pitchFamily="2" charset="0"/>
              </a:defRPr>
            </a:lvl1pPr>
            <a:lvl2pPr marL="342820" indent="0">
              <a:buNone/>
              <a:defRPr/>
            </a:lvl2pPr>
          </a:lstStyle>
          <a:p>
            <a:pPr lvl="0"/>
            <a:r>
              <a:rPr lang="de-DE" dirty="0"/>
              <a:t>Masterdachzeile (Frage, Zwischenüberschrift etc.) bearbeiten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B425ADED-B04D-901E-3897-52D8D15C6F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1098" y="5199561"/>
            <a:ext cx="569062" cy="353544"/>
          </a:xfrm>
          <a:prstGeom prst="rect">
            <a:avLst/>
          </a:prstGeom>
        </p:spPr>
      </p:pic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C2BC1158-9D2F-9C76-AFCA-DC41EF06D350}"/>
              </a:ext>
            </a:extLst>
          </p:cNvPr>
          <p:cNvCxnSpPr>
            <a:cxnSpLocks/>
          </p:cNvCxnSpPr>
          <p:nvPr userDrawn="1"/>
        </p:nvCxnSpPr>
        <p:spPr>
          <a:xfrm>
            <a:off x="573089" y="5197475"/>
            <a:ext cx="76068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D72C8DA-4CA0-7C44-AF35-7D9B0F810F0D}"/>
              </a:ext>
            </a:extLst>
          </p:cNvPr>
          <p:cNvGrpSpPr/>
          <p:nvPr userDrawn="1"/>
        </p:nvGrpSpPr>
        <p:grpSpPr>
          <a:xfrm>
            <a:off x="8175600" y="0"/>
            <a:ext cx="972000" cy="972000"/>
            <a:chOff x="1429969" y="1717048"/>
            <a:chExt cx="973545" cy="973546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EC529A1-2278-D034-28F9-77152A68D035}"/>
                </a:ext>
              </a:extLst>
            </p:cNvPr>
            <p:cNvSpPr/>
            <p:nvPr userDrawn="1"/>
          </p:nvSpPr>
          <p:spPr>
            <a:xfrm>
              <a:off x="1429969" y="1717317"/>
              <a:ext cx="973545" cy="292064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01E7146A-B4AB-4FF2-95E3-E7E3C1AC5325}"/>
                </a:ext>
              </a:extLst>
            </p:cNvPr>
            <p:cNvSpPr/>
            <p:nvPr userDrawn="1"/>
          </p:nvSpPr>
          <p:spPr>
            <a:xfrm rot="5400000">
              <a:off x="1770708" y="2057788"/>
              <a:ext cx="973546" cy="292065"/>
            </a:xfrm>
            <a:prstGeom prst="rect">
              <a:avLst/>
            </a:prstGeom>
            <a:solidFill>
              <a:srgbClr val="9DD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2A12BE6E-CAAF-AF79-E639-2076FAF1FFD3}"/>
              </a:ext>
            </a:extLst>
          </p:cNvPr>
          <p:cNvGrpSpPr/>
          <p:nvPr userDrawn="1"/>
        </p:nvGrpSpPr>
        <p:grpSpPr>
          <a:xfrm>
            <a:off x="573088" y="5330689"/>
            <a:ext cx="134158" cy="141567"/>
            <a:chOff x="7072313" y="5197475"/>
            <a:chExt cx="134158" cy="141567"/>
          </a:xfrm>
        </p:grpSpPr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4A250428-EA05-7C40-7DAF-01D13D04402C}"/>
                </a:ext>
              </a:extLst>
            </p:cNvPr>
            <p:cNvSpPr/>
            <p:nvPr userDrawn="1"/>
          </p:nvSpPr>
          <p:spPr>
            <a:xfrm>
              <a:off x="7072313" y="5197475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C3B37393-15ED-38B9-D599-3D91D549AA04}"/>
                </a:ext>
              </a:extLst>
            </p:cNvPr>
            <p:cNvSpPr/>
            <p:nvPr userDrawn="1"/>
          </p:nvSpPr>
          <p:spPr>
            <a:xfrm rot="5400000">
              <a:off x="7115197" y="5247768"/>
              <a:ext cx="134158" cy="48389"/>
            </a:xfrm>
            <a:prstGeom prst="rect">
              <a:avLst/>
            </a:prstGeom>
            <a:solidFill>
              <a:srgbClr val="80C3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 sz="274" dirty="0">
                <a:ln>
                  <a:noFill/>
                </a:ln>
                <a:solidFill>
                  <a:srgbClr val="80C3F2"/>
                </a:solidFill>
              </a:endParaRPr>
            </a:p>
          </p:txBody>
        </p:sp>
      </p:grp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F2BF0728-1B7E-E82E-8D57-6A5451044BF0}"/>
              </a:ext>
            </a:extLst>
          </p:cNvPr>
          <p:cNvSpPr txBox="1">
            <a:spLocks/>
          </p:cNvSpPr>
          <p:nvPr userDrawn="1"/>
        </p:nvSpPr>
        <p:spPr>
          <a:xfrm>
            <a:off x="7050179" y="5287176"/>
            <a:ext cx="569061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054F6-6491-8548-A6AB-E69F0D62098E}" type="slidenum">
              <a:rPr lang="de-DE" sz="900" b="0" i="0" smtClean="0">
                <a:solidFill>
                  <a:schemeClr val="bg2"/>
                </a:solidFill>
                <a:latin typeface="Nunito Sans Light" pitchFamily="2" charset="77"/>
              </a:rPr>
              <a:pPr algn="ctr"/>
              <a:t>‹Nr.›</a:t>
            </a:fld>
            <a:endParaRPr lang="de-DE" sz="900" b="0" i="0" dirty="0">
              <a:solidFill>
                <a:schemeClr val="bg2"/>
              </a:solidFill>
              <a:latin typeface="Nunito Sans Light" pitchFamily="2" charset="77"/>
            </a:endParaRPr>
          </a:p>
        </p:txBody>
      </p:sp>
      <p:sp>
        <p:nvSpPr>
          <p:cNvPr id="21" name="Datumsplatzhalter 17">
            <a:extLst>
              <a:ext uri="{FF2B5EF4-FFF2-40B4-BE49-F238E27FC236}">
                <a16:creationId xmlns:a16="http://schemas.microsoft.com/office/drawing/2014/main" id="{7B6A4E35-53B3-FB92-CE80-9B5975B3EBA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51998" y="5376335"/>
            <a:ext cx="720000" cy="21511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/>
                </a:solidFill>
                <a:latin typeface="Nunito Sans Light" pitchFamily="2" charset="77"/>
              </a:defRPr>
            </a:lvl1pPr>
          </a:lstStyle>
          <a:p>
            <a:fld id="{4F14A21C-B35B-4DD7-B27B-09D976977F59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AC5D0707-4B4B-0A1A-02BF-3DC959A48561}"/>
              </a:ext>
            </a:extLst>
          </p:cNvPr>
          <p:cNvSpPr txBox="1">
            <a:spLocks/>
          </p:cNvSpPr>
          <p:nvPr userDrawn="1"/>
        </p:nvSpPr>
        <p:spPr>
          <a:xfrm>
            <a:off x="783093" y="5286462"/>
            <a:ext cx="368997" cy="30427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205740" rtl="0" eaLnBrk="1" latinLnBrk="0" hangingPunct="1">
              <a:defRPr sz="1000" kern="1200">
                <a:solidFill>
                  <a:srgbClr val="878787"/>
                </a:solidFill>
                <a:latin typeface="Nunito Sans" pitchFamily="2" charset="77"/>
                <a:ea typeface="+mn-ea"/>
                <a:cs typeface="+mn-cs"/>
              </a:defRPr>
            </a:lvl1pPr>
            <a:lvl2pPr marL="2057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72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444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18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algn="l" defTabSz="205740" rtl="0" eaLnBrk="1" latinLnBrk="0" hangingPunct="1">
              <a:defRPr sz="8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i="0" dirty="0">
                <a:solidFill>
                  <a:schemeClr val="bg2"/>
                </a:solidFill>
                <a:latin typeface="Nunito Sans Light" pitchFamily="2" charset="77"/>
              </a:rPr>
              <a:t>Stand: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22147AA-75EC-766A-90E9-328A72DB02D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1180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000" y="644525"/>
            <a:ext cx="7596451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1" y="1573213"/>
            <a:ext cx="7596450" cy="3332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marL="179388" marR="0" lvl="0" indent="-173038" algn="l" defTabSz="68564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marL="179388" marR="0" lvl="1" indent="-173038" algn="l" defTabSz="68564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6430FA-9F1A-9781-04CA-1C0538CB22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6860" y="5272876"/>
            <a:ext cx="3443827" cy="335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e-DE" sz="900" b="1" i="0" kern="1200" dirty="0" smtClean="0">
                <a:solidFill>
                  <a:srgbClr val="777776"/>
                </a:solidFill>
                <a:latin typeface="Nunito Sans Light" pitchFamily="2" charset="0"/>
                <a:ea typeface="+mn-ea"/>
                <a:cs typeface="+mn-cs"/>
              </a:defRPr>
            </a:lvl1pPr>
          </a:lstStyle>
          <a:p>
            <a:r>
              <a:rPr lang="de-DE"/>
              <a:t>Koordination der Netzwer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0188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96" r:id="rId2"/>
    <p:sldLayoutId id="2147483698" r:id="rId3"/>
    <p:sldLayoutId id="2147483697" r:id="rId4"/>
    <p:sldLayoutId id="2147483702" r:id="rId5"/>
    <p:sldLayoutId id="2147483729" r:id="rId6"/>
    <p:sldLayoutId id="2147483726" r:id="rId7"/>
    <p:sldLayoutId id="2147483700" r:id="rId8"/>
    <p:sldLayoutId id="2147483692" r:id="rId9"/>
    <p:sldLayoutId id="2147483725" r:id="rId10"/>
    <p:sldLayoutId id="2147483708" r:id="rId11"/>
    <p:sldLayoutId id="2147483731" r:id="rId12"/>
    <p:sldLayoutId id="2147483705" r:id="rId13"/>
    <p:sldLayoutId id="2147483716" r:id="rId14"/>
    <p:sldLayoutId id="2147483727" r:id="rId15"/>
    <p:sldLayoutId id="2147483728" r:id="rId16"/>
    <p:sldLayoutId id="2147483703" r:id="rId17"/>
    <p:sldLayoutId id="2147483718" r:id="rId18"/>
    <p:sldLayoutId id="2147483706" r:id="rId19"/>
    <p:sldLayoutId id="2147483707" r:id="rId20"/>
    <p:sldLayoutId id="2147483695" r:id="rId21"/>
    <p:sldLayoutId id="2147483678" r:id="rId22"/>
    <p:sldLayoutId id="2147483709" r:id="rId23"/>
    <p:sldLayoutId id="2147483715" r:id="rId24"/>
    <p:sldLayoutId id="2147483723" r:id="rId25"/>
    <p:sldLayoutId id="2147483730" r:id="rId26"/>
    <p:sldLayoutId id="2147483717" r:id="rId27"/>
    <p:sldLayoutId id="2147483724" r:id="rId28"/>
    <p:sldLayoutId id="2147483710" r:id="rId29"/>
    <p:sldLayoutId id="2147483712" r:id="rId30"/>
    <p:sldLayoutId id="2147483711" r:id="rId31"/>
    <p:sldLayoutId id="2147483719" r:id="rId32"/>
    <p:sldLayoutId id="2147483720" r:id="rId33"/>
    <p:sldLayoutId id="2147483713" r:id="rId34"/>
    <p:sldLayoutId id="2147483714" r:id="rId35"/>
    <p:sldLayoutId id="2147483722" r:id="rId36"/>
    <p:sldLayoutId id="2147483721" r:id="rId37"/>
    <p:sldLayoutId id="2147483682" r:id="rId38"/>
  </p:sldLayoutIdLst>
  <p:hf sldNum="0" hdr="0"/>
  <p:txStyles>
    <p:titleStyle>
      <a:lvl1pPr algn="l" defTabSz="685640" rtl="0" eaLnBrk="1" latinLnBrk="0" hangingPunct="1">
        <a:lnSpc>
          <a:spcPts val="28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Rajdhani Bold" panose="02000000000000000000" pitchFamily="2" charset="0"/>
          <a:ea typeface="+mj-ea"/>
          <a:cs typeface="Rajdhani Bold" panose="02000000000000000000" pitchFamily="2" charset="0"/>
        </a:defRPr>
      </a:lvl1pPr>
    </p:titleStyle>
    <p:bodyStyle>
      <a:lvl1pPr marL="6350" marR="0" indent="0" algn="l" defTabSz="685640" rtl="0" eaLnBrk="1" fontAlgn="auto" latinLnBrk="0" hangingPunct="1">
        <a:lnSpc>
          <a:spcPct val="90000"/>
        </a:lnSpc>
        <a:spcBef>
          <a:spcPts val="750"/>
        </a:spcBef>
        <a:spcAft>
          <a:spcPts val="0"/>
        </a:spcAft>
        <a:buClr>
          <a:srgbClr val="80C3F2"/>
        </a:buClr>
        <a:buSzTx/>
        <a:buFont typeface="Wingdings" pitchFamily="2" charset="2"/>
        <a:buNone/>
        <a:tabLst/>
        <a:defRPr sz="1600" b="0" i="0" kern="1200">
          <a:solidFill>
            <a:srgbClr val="000000"/>
          </a:solidFill>
          <a:latin typeface="Nunito Sans Light" pitchFamily="2" charset="77"/>
          <a:ea typeface="+mn-ea"/>
          <a:cs typeface="+mn-cs"/>
        </a:defRPr>
      </a:lvl1pPr>
      <a:lvl2pPr marL="6350" marR="0" indent="0" algn="l" defTabSz="685640" rtl="0" eaLnBrk="1" fontAlgn="auto" latinLnBrk="0" hangingPunct="1">
        <a:lnSpc>
          <a:spcPts val="2200"/>
        </a:lnSpc>
        <a:spcBef>
          <a:spcPts val="0"/>
        </a:spcBef>
        <a:spcAft>
          <a:spcPts val="0"/>
        </a:spcAft>
        <a:buClr>
          <a:srgbClr val="80C3F2"/>
        </a:buClr>
        <a:buSzTx/>
        <a:buFont typeface="Wingdings" pitchFamily="2" charset="2"/>
        <a:buNone/>
        <a:tabLst/>
        <a:defRPr sz="1400" b="0" i="0" kern="1200">
          <a:solidFill>
            <a:srgbClr val="000000"/>
          </a:solidFill>
          <a:latin typeface="Nunito Sans Light" pitchFamily="2" charset="77"/>
          <a:ea typeface="+mn-ea"/>
          <a:cs typeface="+mn-cs"/>
        </a:defRPr>
      </a:lvl2pPr>
      <a:lvl3pPr marL="6350" indent="0" algn="l" defTabSz="685640" rtl="0" eaLnBrk="1" latinLnBrk="0" hangingPunct="1">
        <a:lnSpc>
          <a:spcPts val="1700"/>
        </a:lnSpc>
        <a:spcBef>
          <a:spcPts val="0"/>
        </a:spcBef>
        <a:buClr>
          <a:srgbClr val="80C3F2"/>
        </a:buClr>
        <a:buFontTx/>
        <a:buNone/>
        <a:tabLst/>
        <a:defRPr sz="1200" b="0" i="0" kern="1200">
          <a:solidFill>
            <a:srgbClr val="000000"/>
          </a:solidFill>
          <a:latin typeface="Nunito Sans Light" pitchFamily="2" charset="77"/>
          <a:ea typeface="+mn-ea"/>
          <a:cs typeface="+mn-cs"/>
        </a:defRPr>
      </a:lvl3pPr>
      <a:lvl4pPr marL="6350" indent="0" algn="l" defTabSz="685640" rtl="0" eaLnBrk="1" latinLnBrk="0" hangingPunct="1">
        <a:lnSpc>
          <a:spcPts val="1100"/>
        </a:lnSpc>
        <a:spcBef>
          <a:spcPts val="0"/>
        </a:spcBef>
        <a:buClr>
          <a:srgbClr val="80C3F2"/>
        </a:buClr>
        <a:buFontTx/>
        <a:buNone/>
        <a:tabLst/>
        <a:defRPr sz="950" b="0" i="0" kern="1200">
          <a:solidFill>
            <a:srgbClr val="000000"/>
          </a:solidFill>
          <a:latin typeface="Nunito Sans Light" pitchFamily="2" charset="77"/>
          <a:ea typeface="+mn-ea"/>
          <a:cs typeface="+mn-cs"/>
        </a:defRPr>
      </a:lvl4pPr>
      <a:lvl5pPr marL="6350" indent="0" algn="l" defTabSz="685640" rtl="0" eaLnBrk="1" latinLnBrk="0" hangingPunct="1">
        <a:lnSpc>
          <a:spcPts val="1100"/>
        </a:lnSpc>
        <a:spcBef>
          <a:spcPts val="0"/>
        </a:spcBef>
        <a:buClr>
          <a:srgbClr val="80C3F2"/>
        </a:buClr>
        <a:buFontTx/>
        <a:buNone/>
        <a:tabLst/>
        <a:defRPr sz="900" b="0" i="0" kern="1200">
          <a:solidFill>
            <a:srgbClr val="000000"/>
          </a:solidFill>
          <a:latin typeface="Nunito Sans Light" pitchFamily="2" charset="77"/>
          <a:ea typeface="+mn-ea"/>
          <a:cs typeface="+mn-cs"/>
        </a:defRPr>
      </a:lvl5pPr>
      <a:lvl6pPr marL="1885510" indent="-171410" algn="l" defTabSz="6856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330" indent="-171410" algn="l" defTabSz="6856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150" indent="-171410" algn="l" defTabSz="6856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70" indent="-171410" algn="l" defTabSz="6856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4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20" algn="l" defTabSz="68564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40" algn="l" defTabSz="68564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60" algn="l" defTabSz="68564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80" algn="l" defTabSz="68564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00" algn="l" defTabSz="68564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20" algn="l" defTabSz="68564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40" algn="l" defTabSz="68564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60" algn="l" defTabSz="68564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3274" userDrawn="1">
          <p15:clr>
            <a:srgbClr val="F26B43"/>
          </p15:clr>
        </p15:guide>
        <p15:guide id="16" orient="horz" pos="610" userDrawn="1">
          <p15:clr>
            <a:srgbClr val="F26B43"/>
          </p15:clr>
        </p15:guide>
        <p15:guide id="17" orient="horz" pos="3090" userDrawn="1">
          <p15:clr>
            <a:srgbClr val="F26B43"/>
          </p15:clr>
        </p15:guide>
        <p15:guide id="18" orient="horz" pos="1800" userDrawn="1">
          <p15:clr>
            <a:srgbClr val="F26B43"/>
          </p15:clr>
        </p15:guide>
        <p15:guide id="19" pos="2878" userDrawn="1">
          <p15:clr>
            <a:srgbClr val="F26B43"/>
          </p15:clr>
        </p15:guide>
        <p15:guide id="20" pos="2699" userDrawn="1">
          <p15:clr>
            <a:srgbClr val="F26B43"/>
          </p15:clr>
        </p15:guide>
        <p15:guide id="21" pos="2113" userDrawn="1">
          <p15:clr>
            <a:srgbClr val="F26B43"/>
          </p15:clr>
        </p15:guide>
        <p15:guide id="22" pos="1532" userDrawn="1">
          <p15:clr>
            <a:srgbClr val="F26B43"/>
          </p15:clr>
        </p15:guide>
        <p15:guide id="23" pos="461" userDrawn="1">
          <p15:clr>
            <a:srgbClr val="F26B43"/>
          </p15:clr>
        </p15:guide>
        <p15:guide id="24" pos="361" userDrawn="1">
          <p15:clr>
            <a:srgbClr val="F26B43"/>
          </p15:clr>
        </p15:guide>
        <p15:guide id="25" pos="3465" userDrawn="1">
          <p15:clr>
            <a:srgbClr val="F26B43"/>
          </p15:clr>
        </p15:guide>
        <p15:guide id="26" pos="5148" userDrawn="1">
          <p15:clr>
            <a:srgbClr val="F26B43"/>
          </p15:clr>
        </p15:guide>
        <p15:guide id="27" pos="5251" userDrawn="1">
          <p15:clr>
            <a:srgbClr val="F26B43"/>
          </p15:clr>
        </p15:guide>
        <p15:guide id="28" pos="4455" userDrawn="1">
          <p15:clr>
            <a:srgbClr val="F26B43"/>
          </p15:clr>
        </p15:guide>
        <p15:guide id="29" pos="4069" userDrawn="1">
          <p15:clr>
            <a:srgbClr val="F26B43"/>
          </p15:clr>
        </p15:guide>
        <p15:guide id="30" pos="5488" userDrawn="1">
          <p15:clr>
            <a:srgbClr val="F26B43"/>
          </p15:clr>
        </p15:guide>
        <p15:guide id="31" pos="5581" userDrawn="1">
          <p15:clr>
            <a:srgbClr val="F26B43"/>
          </p15:clr>
        </p15:guide>
        <p15:guide id="32" orient="horz" pos="991" userDrawn="1">
          <p15:clr>
            <a:srgbClr val="F26B43"/>
          </p15:clr>
        </p15:guide>
        <p15:guide id="33" pos="4289" userDrawn="1">
          <p15:clr>
            <a:srgbClr val="F26B43"/>
          </p15:clr>
        </p15:guide>
        <p15:guide id="34" orient="horz" pos="3447" userDrawn="1">
          <p15:clr>
            <a:srgbClr val="F26B43"/>
          </p15:clr>
        </p15:guide>
        <p15:guide id="35" pos="3967" userDrawn="1">
          <p15:clr>
            <a:srgbClr val="F26B43"/>
          </p15:clr>
        </p15:guide>
        <p15:guide id="37" pos="4894" userDrawn="1">
          <p15:clr>
            <a:srgbClr val="F26B43"/>
          </p15:clr>
        </p15:guide>
        <p15:guide id="38" pos="4800" userDrawn="1">
          <p15:clr>
            <a:srgbClr val="F26B43"/>
          </p15:clr>
        </p15:guide>
        <p15:guide id="39" pos="907" userDrawn="1">
          <p15:clr>
            <a:srgbClr val="F26B43"/>
          </p15:clr>
        </p15:guide>
        <p15:guide id="41" orient="horz" pos="4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DFA320E1-0ADE-062E-C4A2-95791BD28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5528" y="3527272"/>
            <a:ext cx="5433933" cy="284693"/>
          </a:xfrm>
        </p:spPr>
        <p:txBody>
          <a:bodyPr/>
          <a:lstStyle/>
          <a:p>
            <a:r>
              <a:rPr lang="de-DE" sz="2400" dirty="0"/>
              <a:t>Jahreshauptversammlung 2025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6667964-604D-B7DE-E513-AF5AE24C7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5528" y="2054624"/>
            <a:ext cx="5811416" cy="404726"/>
          </a:xfrm>
        </p:spPr>
        <p:txBody>
          <a:bodyPr/>
          <a:lstStyle/>
          <a:p>
            <a:r>
              <a:rPr lang="de-DE" sz="4000" dirty="0"/>
              <a:t>Frauen im Ingenieurberuf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E16902C-194B-32C1-EFB2-61A22C2F9EBF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0937" y="2625145"/>
            <a:ext cx="2265685" cy="1823151"/>
            <a:chOff x="782638" y="2272567"/>
            <a:chExt cx="2265685" cy="1823151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636572A6-E32A-3A5C-3C3B-86C5971C790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82638" y="2497601"/>
              <a:ext cx="2040093" cy="159811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74" dirty="0"/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FC4E2684-1DED-988D-7A8F-5B5EE8F56C15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2356898" y="2272567"/>
              <a:ext cx="691425" cy="691425"/>
              <a:chOff x="5706319" y="5440101"/>
              <a:chExt cx="2048719" cy="2048719"/>
            </a:xfrm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DD61EFE6-1E30-4DD0-E6D2-272B74FD743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5706319" y="5440101"/>
                <a:ext cx="2048719" cy="6667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74" dirty="0"/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6B5118DD-50E0-4D67-DCCE-29A52C0FE62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 rot="16200000">
                <a:off x="6395634" y="6131068"/>
                <a:ext cx="2048719" cy="6667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74" dirty="0"/>
              </a:p>
            </p:txBody>
          </p:sp>
        </p:grp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CF1D6F56-C64A-9D75-52C8-D1B3889238DC}"/>
                </a:ext>
              </a:extLst>
            </p:cNvPr>
            <p:cNvSpPr txBox="1">
              <a:spLocks/>
            </p:cNvSpPr>
            <p:nvPr/>
          </p:nvSpPr>
          <p:spPr>
            <a:xfrm>
              <a:off x="783779" y="2497602"/>
              <a:ext cx="2040093" cy="1598116"/>
            </a:xfrm>
            <a:prstGeom prst="rect">
              <a:avLst/>
            </a:prstGeom>
            <a:noFill/>
          </p:spPr>
          <p:txBody>
            <a:bodyPr wrap="square" lIns="125999" tIns="125999" rIns="108000" bIns="0" rtlCol="0" anchor="ctr">
              <a:noAutofit/>
            </a:bodyPr>
            <a:lstStyle/>
            <a:p>
              <a:pPr>
                <a:lnSpc>
                  <a:spcPts val="3645"/>
                </a:lnSpc>
              </a:pPr>
              <a:r>
                <a:rPr lang="de-DE" sz="2800" b="1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Wir</a:t>
              </a:r>
            </a:p>
            <a:p>
              <a:pPr>
                <a:lnSpc>
                  <a:spcPts val="3645"/>
                </a:lnSpc>
              </a:pPr>
              <a:r>
                <a:rPr lang="de-DE" sz="2800" b="1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gestalten</a:t>
              </a:r>
            </a:p>
            <a:p>
              <a:pPr>
                <a:lnSpc>
                  <a:spcPts val="3645"/>
                </a:lnSpc>
              </a:pPr>
              <a:r>
                <a:rPr lang="de-DE" sz="2800" b="1" dirty="0">
                  <a:solidFill>
                    <a:srgbClr val="9DD0F4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Zukunft</a:t>
              </a:r>
            </a:p>
          </p:txBody>
        </p:sp>
      </p:grpSp>
      <p:sp>
        <p:nvSpPr>
          <p:cNvPr id="3" name="Rechteck 2"/>
          <p:cNvSpPr/>
          <p:nvPr/>
        </p:nvSpPr>
        <p:spPr>
          <a:xfrm>
            <a:off x="6453266" y="4819338"/>
            <a:ext cx="1873770" cy="719528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6939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70871"/>
          </a:xfrm>
        </p:spPr>
        <p:txBody>
          <a:bodyPr/>
          <a:lstStyle/>
          <a:p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Treffen im Jahr 2024 / 25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576000" y="644400"/>
            <a:ext cx="7603889" cy="227755"/>
          </a:xfrm>
        </p:spPr>
        <p:txBody>
          <a:bodyPr/>
          <a:lstStyle/>
          <a:p>
            <a:r>
              <a:rPr lang="de-DE" dirty="0"/>
              <a:t>Frauen im Ingenieurberuf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24EC688-5128-47C1-BAC8-61C4DBB9C37F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dirty="0"/>
              <a:t>FIB - Frauen im Ingenieurberuf</a:t>
            </a:r>
          </a:p>
        </p:txBody>
      </p:sp>
      <p:cxnSp>
        <p:nvCxnSpPr>
          <p:cNvPr id="8" name="Gerader Verbinder 7"/>
          <p:cNvCxnSpPr/>
          <p:nvPr/>
        </p:nvCxnSpPr>
        <p:spPr>
          <a:xfrm>
            <a:off x="576000" y="1331073"/>
            <a:ext cx="83506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4">
            <a:extLst>
              <a:ext uri="{FF2B5EF4-FFF2-40B4-BE49-F238E27FC236}">
                <a16:creationId xmlns:a16="http://schemas.microsoft.com/office/drawing/2014/main" id="{99A1B02B-9FA4-64B7-EFB3-20CEBF7354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19851" y="1875099"/>
            <a:ext cx="2055806" cy="2820501"/>
            <a:chOff x="2092" y="698"/>
            <a:chExt cx="1576" cy="1946"/>
          </a:xfrm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17ED9907-A8CA-5059-E7EA-17E7D7A601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92" y="698"/>
              <a:ext cx="1027" cy="1028"/>
            </a:xfrm>
            <a:custGeom>
              <a:avLst/>
              <a:gdLst>
                <a:gd name="T0" fmla="*/ 2023 w 2053"/>
                <a:gd name="T1" fmla="*/ 1337 h 2057"/>
                <a:gd name="T2" fmla="*/ 1901 w 2053"/>
                <a:gd name="T3" fmla="*/ 1447 h 2057"/>
                <a:gd name="T4" fmla="*/ 1750 w 2053"/>
                <a:gd name="T5" fmla="*/ 1465 h 2057"/>
                <a:gd name="T6" fmla="*/ 1635 w 2053"/>
                <a:gd name="T7" fmla="*/ 1439 h 2057"/>
                <a:gd name="T8" fmla="*/ 1532 w 2053"/>
                <a:gd name="T9" fmla="*/ 1460 h 2057"/>
                <a:gd name="T10" fmla="*/ 1496 w 2053"/>
                <a:gd name="T11" fmla="*/ 1557 h 2057"/>
                <a:gd name="T12" fmla="*/ 1175 w 2053"/>
                <a:gd name="T13" fmla="*/ 2035 h 2057"/>
                <a:gd name="T14" fmla="*/ 1078 w 2053"/>
                <a:gd name="T15" fmla="*/ 1998 h 2057"/>
                <a:gd name="T16" fmla="*/ 1057 w 2053"/>
                <a:gd name="T17" fmla="*/ 1896 h 2057"/>
                <a:gd name="T18" fmla="*/ 1083 w 2053"/>
                <a:gd name="T19" fmla="*/ 1782 h 2057"/>
                <a:gd name="T20" fmla="*/ 1066 w 2053"/>
                <a:gd name="T21" fmla="*/ 1630 h 2057"/>
                <a:gd name="T22" fmla="*/ 954 w 2053"/>
                <a:gd name="T23" fmla="*/ 1507 h 2057"/>
                <a:gd name="T24" fmla="*/ 810 w 2053"/>
                <a:gd name="T25" fmla="*/ 1479 h 2057"/>
                <a:gd name="T26" fmla="*/ 659 w 2053"/>
                <a:gd name="T27" fmla="*/ 1550 h 2057"/>
                <a:gd name="T28" fmla="*/ 588 w 2053"/>
                <a:gd name="T29" fmla="*/ 1701 h 2057"/>
                <a:gd name="T30" fmla="*/ 600 w 2053"/>
                <a:gd name="T31" fmla="*/ 1844 h 2057"/>
                <a:gd name="T32" fmla="*/ 621 w 2053"/>
                <a:gd name="T33" fmla="*/ 1957 h 2057"/>
                <a:gd name="T34" fmla="*/ 566 w 2053"/>
                <a:gd name="T35" fmla="*/ 2048 h 2057"/>
                <a:gd name="T36" fmla="*/ 421 w 2053"/>
                <a:gd name="T37" fmla="*/ 2045 h 2057"/>
                <a:gd name="T38" fmla="*/ 101 w 2053"/>
                <a:gd name="T39" fmla="*/ 1957 h 2057"/>
                <a:gd name="T40" fmla="*/ 32 w 2053"/>
                <a:gd name="T41" fmla="*/ 1500 h 2057"/>
                <a:gd name="T42" fmla="*/ 87 w 2053"/>
                <a:gd name="T43" fmla="*/ 1444 h 2057"/>
                <a:gd name="T44" fmla="*/ 206 w 2053"/>
                <a:gd name="T45" fmla="*/ 1452 h 2057"/>
                <a:gd name="T46" fmla="*/ 330 w 2053"/>
                <a:gd name="T47" fmla="*/ 1467 h 2057"/>
                <a:gd name="T48" fmla="*/ 489 w 2053"/>
                <a:gd name="T49" fmla="*/ 1411 h 2057"/>
                <a:gd name="T50" fmla="*/ 575 w 2053"/>
                <a:gd name="T51" fmla="*/ 1268 h 2057"/>
                <a:gd name="T52" fmla="*/ 560 w 2053"/>
                <a:gd name="T53" fmla="*/ 1121 h 2057"/>
                <a:gd name="T54" fmla="*/ 450 w 2053"/>
                <a:gd name="T55" fmla="*/ 998 h 2057"/>
                <a:gd name="T56" fmla="*/ 301 w 2053"/>
                <a:gd name="T57" fmla="*/ 969 h 2057"/>
                <a:gd name="T58" fmla="*/ 183 w 2053"/>
                <a:gd name="T59" fmla="*/ 992 h 2057"/>
                <a:gd name="T60" fmla="*/ 51 w 2053"/>
                <a:gd name="T61" fmla="*/ 990 h 2057"/>
                <a:gd name="T62" fmla="*/ 0 w 2053"/>
                <a:gd name="T63" fmla="*/ 900 h 2057"/>
                <a:gd name="T64" fmla="*/ 40 w 2053"/>
                <a:gd name="T65" fmla="*/ 671 h 2057"/>
                <a:gd name="T66" fmla="*/ 469 w 2053"/>
                <a:gd name="T67" fmla="*/ 556 h 2057"/>
                <a:gd name="T68" fmla="*/ 564 w 2053"/>
                <a:gd name="T69" fmla="*/ 546 h 2057"/>
                <a:gd name="T70" fmla="*/ 615 w 2053"/>
                <a:gd name="T71" fmla="*/ 490 h 2057"/>
                <a:gd name="T72" fmla="*/ 620 w 2053"/>
                <a:gd name="T73" fmla="*/ 431 h 2057"/>
                <a:gd name="T74" fmla="*/ 597 w 2053"/>
                <a:gd name="T75" fmla="*/ 343 h 2057"/>
                <a:gd name="T76" fmla="*/ 595 w 2053"/>
                <a:gd name="T77" fmla="*/ 198 h 2057"/>
                <a:gd name="T78" fmla="*/ 680 w 2053"/>
                <a:gd name="T79" fmla="*/ 57 h 2057"/>
                <a:gd name="T80" fmla="*/ 839 w 2053"/>
                <a:gd name="T81" fmla="*/ 0 h 2057"/>
                <a:gd name="T82" fmla="*/ 978 w 2053"/>
                <a:gd name="T83" fmla="*/ 42 h 2057"/>
                <a:gd name="T84" fmla="*/ 1078 w 2053"/>
                <a:gd name="T85" fmla="*/ 175 h 2057"/>
                <a:gd name="T86" fmla="*/ 1083 w 2053"/>
                <a:gd name="T87" fmla="*/ 325 h 2057"/>
                <a:gd name="T88" fmla="*/ 1059 w 2053"/>
                <a:gd name="T89" fmla="*/ 416 h 2057"/>
                <a:gd name="T90" fmla="*/ 1054 w 2053"/>
                <a:gd name="T91" fmla="*/ 480 h 2057"/>
                <a:gd name="T92" fmla="*/ 1082 w 2053"/>
                <a:gd name="T93" fmla="*/ 551 h 2057"/>
                <a:gd name="T94" fmla="*/ 1150 w 2053"/>
                <a:gd name="T95" fmla="*/ 580 h 2057"/>
                <a:gd name="T96" fmla="*/ 1332 w 2053"/>
                <a:gd name="T97" fmla="*/ 552 h 2057"/>
                <a:gd name="T98" fmla="*/ 1549 w 2053"/>
                <a:gd name="T99" fmla="*/ 552 h 2057"/>
                <a:gd name="T100" fmla="*/ 1475 w 2053"/>
                <a:gd name="T101" fmla="*/ 881 h 2057"/>
                <a:gd name="T102" fmla="*/ 1500 w 2053"/>
                <a:gd name="T103" fmla="*/ 973 h 2057"/>
                <a:gd name="T104" fmla="*/ 1613 w 2053"/>
                <a:gd name="T105" fmla="*/ 1002 h 2057"/>
                <a:gd name="T106" fmla="*/ 1728 w 2053"/>
                <a:gd name="T107" fmla="*/ 974 h 2057"/>
                <a:gd name="T108" fmla="*/ 1878 w 2053"/>
                <a:gd name="T109" fmla="*/ 980 h 2057"/>
                <a:gd name="T110" fmla="*/ 2010 w 2053"/>
                <a:gd name="T111" fmla="*/ 1079 h 2057"/>
                <a:gd name="T112" fmla="*/ 2053 w 2053"/>
                <a:gd name="T113" fmla="*/ 1218 h 2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53" h="2057">
                  <a:moveTo>
                    <a:pt x="2053" y="1218"/>
                  </a:moveTo>
                  <a:lnTo>
                    <a:pt x="2053" y="1218"/>
                  </a:lnTo>
                  <a:lnTo>
                    <a:pt x="2052" y="1244"/>
                  </a:lnTo>
                  <a:lnTo>
                    <a:pt x="2048" y="1268"/>
                  </a:lnTo>
                  <a:lnTo>
                    <a:pt x="2043" y="1292"/>
                  </a:lnTo>
                  <a:lnTo>
                    <a:pt x="2033" y="1315"/>
                  </a:lnTo>
                  <a:lnTo>
                    <a:pt x="2023" y="1337"/>
                  </a:lnTo>
                  <a:lnTo>
                    <a:pt x="2010" y="1358"/>
                  </a:lnTo>
                  <a:lnTo>
                    <a:pt x="1996" y="1377"/>
                  </a:lnTo>
                  <a:lnTo>
                    <a:pt x="1980" y="1394"/>
                  </a:lnTo>
                  <a:lnTo>
                    <a:pt x="1963" y="1411"/>
                  </a:lnTo>
                  <a:lnTo>
                    <a:pt x="1944" y="1424"/>
                  </a:lnTo>
                  <a:lnTo>
                    <a:pt x="1923" y="1437"/>
                  </a:lnTo>
                  <a:lnTo>
                    <a:pt x="1901" y="1447"/>
                  </a:lnTo>
                  <a:lnTo>
                    <a:pt x="1878" y="1457"/>
                  </a:lnTo>
                  <a:lnTo>
                    <a:pt x="1855" y="1462"/>
                  </a:lnTo>
                  <a:lnTo>
                    <a:pt x="1830" y="1466"/>
                  </a:lnTo>
                  <a:lnTo>
                    <a:pt x="1804" y="1467"/>
                  </a:lnTo>
                  <a:lnTo>
                    <a:pt x="1804" y="1467"/>
                  </a:lnTo>
                  <a:lnTo>
                    <a:pt x="1774" y="1467"/>
                  </a:lnTo>
                  <a:lnTo>
                    <a:pt x="1750" y="1465"/>
                  </a:lnTo>
                  <a:lnTo>
                    <a:pt x="1728" y="1462"/>
                  </a:lnTo>
                  <a:lnTo>
                    <a:pt x="1711" y="1460"/>
                  </a:lnTo>
                  <a:lnTo>
                    <a:pt x="1688" y="1454"/>
                  </a:lnTo>
                  <a:lnTo>
                    <a:pt x="1680" y="1452"/>
                  </a:lnTo>
                  <a:lnTo>
                    <a:pt x="1680" y="1452"/>
                  </a:lnTo>
                  <a:lnTo>
                    <a:pt x="1657" y="1444"/>
                  </a:lnTo>
                  <a:lnTo>
                    <a:pt x="1635" y="1439"/>
                  </a:lnTo>
                  <a:lnTo>
                    <a:pt x="1614" y="1436"/>
                  </a:lnTo>
                  <a:lnTo>
                    <a:pt x="1595" y="1436"/>
                  </a:lnTo>
                  <a:lnTo>
                    <a:pt x="1577" y="1439"/>
                  </a:lnTo>
                  <a:lnTo>
                    <a:pt x="1560" y="1444"/>
                  </a:lnTo>
                  <a:lnTo>
                    <a:pt x="1546" y="1451"/>
                  </a:lnTo>
                  <a:lnTo>
                    <a:pt x="1539" y="1456"/>
                  </a:lnTo>
                  <a:lnTo>
                    <a:pt x="1532" y="1460"/>
                  </a:lnTo>
                  <a:lnTo>
                    <a:pt x="1527" y="1466"/>
                  </a:lnTo>
                  <a:lnTo>
                    <a:pt x="1522" y="1472"/>
                  </a:lnTo>
                  <a:lnTo>
                    <a:pt x="1512" y="1484"/>
                  </a:lnTo>
                  <a:lnTo>
                    <a:pt x="1505" y="1500"/>
                  </a:lnTo>
                  <a:lnTo>
                    <a:pt x="1499" y="1518"/>
                  </a:lnTo>
                  <a:lnTo>
                    <a:pt x="1497" y="1536"/>
                  </a:lnTo>
                  <a:lnTo>
                    <a:pt x="1496" y="1557"/>
                  </a:lnTo>
                  <a:lnTo>
                    <a:pt x="1497" y="1580"/>
                  </a:lnTo>
                  <a:lnTo>
                    <a:pt x="1501" y="1604"/>
                  </a:lnTo>
                  <a:lnTo>
                    <a:pt x="1574" y="1957"/>
                  </a:lnTo>
                  <a:lnTo>
                    <a:pt x="1221" y="2031"/>
                  </a:lnTo>
                  <a:lnTo>
                    <a:pt x="1221" y="2031"/>
                  </a:lnTo>
                  <a:lnTo>
                    <a:pt x="1197" y="2034"/>
                  </a:lnTo>
                  <a:lnTo>
                    <a:pt x="1175" y="2035"/>
                  </a:lnTo>
                  <a:lnTo>
                    <a:pt x="1155" y="2035"/>
                  </a:lnTo>
                  <a:lnTo>
                    <a:pt x="1135" y="2032"/>
                  </a:lnTo>
                  <a:lnTo>
                    <a:pt x="1118" y="2026"/>
                  </a:lnTo>
                  <a:lnTo>
                    <a:pt x="1103" y="2019"/>
                  </a:lnTo>
                  <a:lnTo>
                    <a:pt x="1089" y="2010"/>
                  </a:lnTo>
                  <a:lnTo>
                    <a:pt x="1083" y="2004"/>
                  </a:lnTo>
                  <a:lnTo>
                    <a:pt x="1078" y="1998"/>
                  </a:lnTo>
                  <a:lnTo>
                    <a:pt x="1073" y="1992"/>
                  </a:lnTo>
                  <a:lnTo>
                    <a:pt x="1068" y="1986"/>
                  </a:lnTo>
                  <a:lnTo>
                    <a:pt x="1061" y="1971"/>
                  </a:lnTo>
                  <a:lnTo>
                    <a:pt x="1057" y="1954"/>
                  </a:lnTo>
                  <a:lnTo>
                    <a:pt x="1054" y="1936"/>
                  </a:lnTo>
                  <a:lnTo>
                    <a:pt x="1054" y="1916"/>
                  </a:lnTo>
                  <a:lnTo>
                    <a:pt x="1057" y="1896"/>
                  </a:lnTo>
                  <a:lnTo>
                    <a:pt x="1061" y="1874"/>
                  </a:lnTo>
                  <a:lnTo>
                    <a:pt x="1069" y="1851"/>
                  </a:lnTo>
                  <a:lnTo>
                    <a:pt x="1069" y="1851"/>
                  </a:lnTo>
                  <a:lnTo>
                    <a:pt x="1072" y="1844"/>
                  </a:lnTo>
                  <a:lnTo>
                    <a:pt x="1078" y="1820"/>
                  </a:lnTo>
                  <a:lnTo>
                    <a:pt x="1080" y="1802"/>
                  </a:lnTo>
                  <a:lnTo>
                    <a:pt x="1083" y="1782"/>
                  </a:lnTo>
                  <a:lnTo>
                    <a:pt x="1084" y="1756"/>
                  </a:lnTo>
                  <a:lnTo>
                    <a:pt x="1086" y="1726"/>
                  </a:lnTo>
                  <a:lnTo>
                    <a:pt x="1086" y="1726"/>
                  </a:lnTo>
                  <a:lnTo>
                    <a:pt x="1084" y="1701"/>
                  </a:lnTo>
                  <a:lnTo>
                    <a:pt x="1080" y="1677"/>
                  </a:lnTo>
                  <a:lnTo>
                    <a:pt x="1074" y="1653"/>
                  </a:lnTo>
                  <a:lnTo>
                    <a:pt x="1066" y="1630"/>
                  </a:lnTo>
                  <a:lnTo>
                    <a:pt x="1056" y="1608"/>
                  </a:lnTo>
                  <a:lnTo>
                    <a:pt x="1043" y="1587"/>
                  </a:lnTo>
                  <a:lnTo>
                    <a:pt x="1028" y="1568"/>
                  </a:lnTo>
                  <a:lnTo>
                    <a:pt x="1012" y="1550"/>
                  </a:lnTo>
                  <a:lnTo>
                    <a:pt x="995" y="1534"/>
                  </a:lnTo>
                  <a:lnTo>
                    <a:pt x="975" y="1520"/>
                  </a:lnTo>
                  <a:lnTo>
                    <a:pt x="954" y="1507"/>
                  </a:lnTo>
                  <a:lnTo>
                    <a:pt x="932" y="1497"/>
                  </a:lnTo>
                  <a:lnTo>
                    <a:pt x="911" y="1489"/>
                  </a:lnTo>
                  <a:lnTo>
                    <a:pt x="886" y="1482"/>
                  </a:lnTo>
                  <a:lnTo>
                    <a:pt x="861" y="1479"/>
                  </a:lnTo>
                  <a:lnTo>
                    <a:pt x="836" y="1477"/>
                  </a:lnTo>
                  <a:lnTo>
                    <a:pt x="836" y="1477"/>
                  </a:lnTo>
                  <a:lnTo>
                    <a:pt x="810" y="1479"/>
                  </a:lnTo>
                  <a:lnTo>
                    <a:pt x="786" y="1482"/>
                  </a:lnTo>
                  <a:lnTo>
                    <a:pt x="762" y="1489"/>
                  </a:lnTo>
                  <a:lnTo>
                    <a:pt x="739" y="1497"/>
                  </a:lnTo>
                  <a:lnTo>
                    <a:pt x="717" y="1507"/>
                  </a:lnTo>
                  <a:lnTo>
                    <a:pt x="696" y="1520"/>
                  </a:lnTo>
                  <a:lnTo>
                    <a:pt x="678" y="1534"/>
                  </a:lnTo>
                  <a:lnTo>
                    <a:pt x="659" y="1550"/>
                  </a:lnTo>
                  <a:lnTo>
                    <a:pt x="643" y="1568"/>
                  </a:lnTo>
                  <a:lnTo>
                    <a:pt x="630" y="1587"/>
                  </a:lnTo>
                  <a:lnTo>
                    <a:pt x="617" y="1608"/>
                  </a:lnTo>
                  <a:lnTo>
                    <a:pt x="607" y="1630"/>
                  </a:lnTo>
                  <a:lnTo>
                    <a:pt x="597" y="1653"/>
                  </a:lnTo>
                  <a:lnTo>
                    <a:pt x="592" y="1677"/>
                  </a:lnTo>
                  <a:lnTo>
                    <a:pt x="588" y="1701"/>
                  </a:lnTo>
                  <a:lnTo>
                    <a:pt x="587" y="1726"/>
                  </a:lnTo>
                  <a:lnTo>
                    <a:pt x="587" y="1726"/>
                  </a:lnTo>
                  <a:lnTo>
                    <a:pt x="587" y="1756"/>
                  </a:lnTo>
                  <a:lnTo>
                    <a:pt x="589" y="1782"/>
                  </a:lnTo>
                  <a:lnTo>
                    <a:pt x="592" y="1802"/>
                  </a:lnTo>
                  <a:lnTo>
                    <a:pt x="595" y="1820"/>
                  </a:lnTo>
                  <a:lnTo>
                    <a:pt x="600" y="1844"/>
                  </a:lnTo>
                  <a:lnTo>
                    <a:pt x="602" y="1851"/>
                  </a:lnTo>
                  <a:lnTo>
                    <a:pt x="602" y="1851"/>
                  </a:lnTo>
                  <a:lnTo>
                    <a:pt x="610" y="1875"/>
                  </a:lnTo>
                  <a:lnTo>
                    <a:pt x="616" y="1897"/>
                  </a:lnTo>
                  <a:lnTo>
                    <a:pt x="620" y="1918"/>
                  </a:lnTo>
                  <a:lnTo>
                    <a:pt x="621" y="1938"/>
                  </a:lnTo>
                  <a:lnTo>
                    <a:pt x="621" y="1957"/>
                  </a:lnTo>
                  <a:lnTo>
                    <a:pt x="619" y="1975"/>
                  </a:lnTo>
                  <a:lnTo>
                    <a:pt x="615" y="1991"/>
                  </a:lnTo>
                  <a:lnTo>
                    <a:pt x="609" y="2006"/>
                  </a:lnTo>
                  <a:lnTo>
                    <a:pt x="601" y="2019"/>
                  </a:lnTo>
                  <a:lnTo>
                    <a:pt x="590" y="2031"/>
                  </a:lnTo>
                  <a:lnTo>
                    <a:pt x="579" y="2040"/>
                  </a:lnTo>
                  <a:lnTo>
                    <a:pt x="566" y="2048"/>
                  </a:lnTo>
                  <a:lnTo>
                    <a:pt x="551" y="2054"/>
                  </a:lnTo>
                  <a:lnTo>
                    <a:pt x="535" y="2056"/>
                  </a:lnTo>
                  <a:lnTo>
                    <a:pt x="518" y="2057"/>
                  </a:lnTo>
                  <a:lnTo>
                    <a:pt x="498" y="2056"/>
                  </a:lnTo>
                  <a:lnTo>
                    <a:pt x="498" y="2056"/>
                  </a:lnTo>
                  <a:lnTo>
                    <a:pt x="460" y="2051"/>
                  </a:lnTo>
                  <a:lnTo>
                    <a:pt x="421" y="2045"/>
                  </a:lnTo>
                  <a:lnTo>
                    <a:pt x="381" y="2039"/>
                  </a:lnTo>
                  <a:lnTo>
                    <a:pt x="338" y="2029"/>
                  </a:lnTo>
                  <a:lnTo>
                    <a:pt x="338" y="2029"/>
                  </a:lnTo>
                  <a:lnTo>
                    <a:pt x="290" y="2018"/>
                  </a:lnTo>
                  <a:lnTo>
                    <a:pt x="236" y="2002"/>
                  </a:lnTo>
                  <a:lnTo>
                    <a:pt x="174" y="1982"/>
                  </a:lnTo>
                  <a:lnTo>
                    <a:pt x="101" y="1957"/>
                  </a:lnTo>
                  <a:lnTo>
                    <a:pt x="27" y="1604"/>
                  </a:lnTo>
                  <a:lnTo>
                    <a:pt x="27" y="1604"/>
                  </a:lnTo>
                  <a:lnTo>
                    <a:pt x="24" y="1580"/>
                  </a:lnTo>
                  <a:lnTo>
                    <a:pt x="21" y="1557"/>
                  </a:lnTo>
                  <a:lnTo>
                    <a:pt x="23" y="1536"/>
                  </a:lnTo>
                  <a:lnTo>
                    <a:pt x="26" y="1518"/>
                  </a:lnTo>
                  <a:lnTo>
                    <a:pt x="32" y="1500"/>
                  </a:lnTo>
                  <a:lnTo>
                    <a:pt x="39" y="1484"/>
                  </a:lnTo>
                  <a:lnTo>
                    <a:pt x="48" y="1472"/>
                  </a:lnTo>
                  <a:lnTo>
                    <a:pt x="54" y="1466"/>
                  </a:lnTo>
                  <a:lnTo>
                    <a:pt x="59" y="1460"/>
                  </a:lnTo>
                  <a:lnTo>
                    <a:pt x="65" y="1456"/>
                  </a:lnTo>
                  <a:lnTo>
                    <a:pt x="72" y="1451"/>
                  </a:lnTo>
                  <a:lnTo>
                    <a:pt x="87" y="1444"/>
                  </a:lnTo>
                  <a:lnTo>
                    <a:pt x="103" y="1439"/>
                  </a:lnTo>
                  <a:lnTo>
                    <a:pt x="122" y="1436"/>
                  </a:lnTo>
                  <a:lnTo>
                    <a:pt x="140" y="1436"/>
                  </a:lnTo>
                  <a:lnTo>
                    <a:pt x="161" y="1439"/>
                  </a:lnTo>
                  <a:lnTo>
                    <a:pt x="183" y="1444"/>
                  </a:lnTo>
                  <a:lnTo>
                    <a:pt x="206" y="1452"/>
                  </a:lnTo>
                  <a:lnTo>
                    <a:pt x="206" y="1452"/>
                  </a:lnTo>
                  <a:lnTo>
                    <a:pt x="214" y="1454"/>
                  </a:lnTo>
                  <a:lnTo>
                    <a:pt x="237" y="1460"/>
                  </a:lnTo>
                  <a:lnTo>
                    <a:pt x="254" y="1462"/>
                  </a:lnTo>
                  <a:lnTo>
                    <a:pt x="276" y="1465"/>
                  </a:lnTo>
                  <a:lnTo>
                    <a:pt x="301" y="1467"/>
                  </a:lnTo>
                  <a:lnTo>
                    <a:pt x="330" y="1467"/>
                  </a:lnTo>
                  <a:lnTo>
                    <a:pt x="330" y="1467"/>
                  </a:lnTo>
                  <a:lnTo>
                    <a:pt x="357" y="1466"/>
                  </a:lnTo>
                  <a:lnTo>
                    <a:pt x="381" y="1462"/>
                  </a:lnTo>
                  <a:lnTo>
                    <a:pt x="405" y="1457"/>
                  </a:lnTo>
                  <a:lnTo>
                    <a:pt x="428" y="1447"/>
                  </a:lnTo>
                  <a:lnTo>
                    <a:pt x="450" y="1437"/>
                  </a:lnTo>
                  <a:lnTo>
                    <a:pt x="471" y="1424"/>
                  </a:lnTo>
                  <a:lnTo>
                    <a:pt x="489" y="1411"/>
                  </a:lnTo>
                  <a:lnTo>
                    <a:pt x="507" y="1394"/>
                  </a:lnTo>
                  <a:lnTo>
                    <a:pt x="524" y="1377"/>
                  </a:lnTo>
                  <a:lnTo>
                    <a:pt x="537" y="1358"/>
                  </a:lnTo>
                  <a:lnTo>
                    <a:pt x="550" y="1337"/>
                  </a:lnTo>
                  <a:lnTo>
                    <a:pt x="560" y="1315"/>
                  </a:lnTo>
                  <a:lnTo>
                    <a:pt x="569" y="1292"/>
                  </a:lnTo>
                  <a:lnTo>
                    <a:pt x="575" y="1268"/>
                  </a:lnTo>
                  <a:lnTo>
                    <a:pt x="579" y="1244"/>
                  </a:lnTo>
                  <a:lnTo>
                    <a:pt x="580" y="1218"/>
                  </a:lnTo>
                  <a:lnTo>
                    <a:pt x="580" y="1218"/>
                  </a:lnTo>
                  <a:lnTo>
                    <a:pt x="579" y="1193"/>
                  </a:lnTo>
                  <a:lnTo>
                    <a:pt x="575" y="1168"/>
                  </a:lnTo>
                  <a:lnTo>
                    <a:pt x="569" y="1143"/>
                  </a:lnTo>
                  <a:lnTo>
                    <a:pt x="560" y="1121"/>
                  </a:lnTo>
                  <a:lnTo>
                    <a:pt x="550" y="1100"/>
                  </a:lnTo>
                  <a:lnTo>
                    <a:pt x="537" y="1079"/>
                  </a:lnTo>
                  <a:lnTo>
                    <a:pt x="524" y="1059"/>
                  </a:lnTo>
                  <a:lnTo>
                    <a:pt x="507" y="1042"/>
                  </a:lnTo>
                  <a:lnTo>
                    <a:pt x="489" y="1026"/>
                  </a:lnTo>
                  <a:lnTo>
                    <a:pt x="471" y="1011"/>
                  </a:lnTo>
                  <a:lnTo>
                    <a:pt x="450" y="998"/>
                  </a:lnTo>
                  <a:lnTo>
                    <a:pt x="428" y="988"/>
                  </a:lnTo>
                  <a:lnTo>
                    <a:pt x="405" y="980"/>
                  </a:lnTo>
                  <a:lnTo>
                    <a:pt x="381" y="974"/>
                  </a:lnTo>
                  <a:lnTo>
                    <a:pt x="357" y="969"/>
                  </a:lnTo>
                  <a:lnTo>
                    <a:pt x="330" y="968"/>
                  </a:lnTo>
                  <a:lnTo>
                    <a:pt x="330" y="968"/>
                  </a:lnTo>
                  <a:lnTo>
                    <a:pt x="301" y="969"/>
                  </a:lnTo>
                  <a:lnTo>
                    <a:pt x="276" y="972"/>
                  </a:lnTo>
                  <a:lnTo>
                    <a:pt x="254" y="974"/>
                  </a:lnTo>
                  <a:lnTo>
                    <a:pt x="237" y="976"/>
                  </a:lnTo>
                  <a:lnTo>
                    <a:pt x="214" y="982"/>
                  </a:lnTo>
                  <a:lnTo>
                    <a:pt x="206" y="984"/>
                  </a:lnTo>
                  <a:lnTo>
                    <a:pt x="206" y="984"/>
                  </a:lnTo>
                  <a:lnTo>
                    <a:pt x="183" y="992"/>
                  </a:lnTo>
                  <a:lnTo>
                    <a:pt x="161" y="998"/>
                  </a:lnTo>
                  <a:lnTo>
                    <a:pt x="139" y="1002"/>
                  </a:lnTo>
                  <a:lnTo>
                    <a:pt x="119" y="1004"/>
                  </a:lnTo>
                  <a:lnTo>
                    <a:pt x="100" y="1003"/>
                  </a:lnTo>
                  <a:lnTo>
                    <a:pt x="83" y="1000"/>
                  </a:lnTo>
                  <a:lnTo>
                    <a:pt x="66" y="996"/>
                  </a:lnTo>
                  <a:lnTo>
                    <a:pt x="51" y="990"/>
                  </a:lnTo>
                  <a:lnTo>
                    <a:pt x="39" y="982"/>
                  </a:lnTo>
                  <a:lnTo>
                    <a:pt x="27" y="973"/>
                  </a:lnTo>
                  <a:lnTo>
                    <a:pt x="18" y="961"/>
                  </a:lnTo>
                  <a:lnTo>
                    <a:pt x="10" y="949"/>
                  </a:lnTo>
                  <a:lnTo>
                    <a:pt x="4" y="934"/>
                  </a:lnTo>
                  <a:lnTo>
                    <a:pt x="1" y="917"/>
                  </a:lnTo>
                  <a:lnTo>
                    <a:pt x="0" y="900"/>
                  </a:lnTo>
                  <a:lnTo>
                    <a:pt x="2" y="881"/>
                  </a:lnTo>
                  <a:lnTo>
                    <a:pt x="2" y="881"/>
                  </a:lnTo>
                  <a:lnTo>
                    <a:pt x="7" y="841"/>
                  </a:lnTo>
                  <a:lnTo>
                    <a:pt x="12" y="802"/>
                  </a:lnTo>
                  <a:lnTo>
                    <a:pt x="19" y="762"/>
                  </a:lnTo>
                  <a:lnTo>
                    <a:pt x="27" y="719"/>
                  </a:lnTo>
                  <a:lnTo>
                    <a:pt x="40" y="671"/>
                  </a:lnTo>
                  <a:lnTo>
                    <a:pt x="55" y="616"/>
                  </a:lnTo>
                  <a:lnTo>
                    <a:pt x="76" y="552"/>
                  </a:lnTo>
                  <a:lnTo>
                    <a:pt x="101" y="480"/>
                  </a:lnTo>
                  <a:lnTo>
                    <a:pt x="102" y="480"/>
                  </a:lnTo>
                  <a:lnTo>
                    <a:pt x="453" y="552"/>
                  </a:lnTo>
                  <a:lnTo>
                    <a:pt x="453" y="552"/>
                  </a:lnTo>
                  <a:lnTo>
                    <a:pt x="469" y="556"/>
                  </a:lnTo>
                  <a:lnTo>
                    <a:pt x="486" y="557"/>
                  </a:lnTo>
                  <a:lnTo>
                    <a:pt x="501" y="558"/>
                  </a:lnTo>
                  <a:lnTo>
                    <a:pt x="514" y="558"/>
                  </a:lnTo>
                  <a:lnTo>
                    <a:pt x="528" y="556"/>
                  </a:lnTo>
                  <a:lnTo>
                    <a:pt x="541" y="553"/>
                  </a:lnTo>
                  <a:lnTo>
                    <a:pt x="552" y="550"/>
                  </a:lnTo>
                  <a:lnTo>
                    <a:pt x="564" y="546"/>
                  </a:lnTo>
                  <a:lnTo>
                    <a:pt x="574" y="541"/>
                  </a:lnTo>
                  <a:lnTo>
                    <a:pt x="582" y="534"/>
                  </a:lnTo>
                  <a:lnTo>
                    <a:pt x="592" y="527"/>
                  </a:lnTo>
                  <a:lnTo>
                    <a:pt x="598" y="519"/>
                  </a:lnTo>
                  <a:lnTo>
                    <a:pt x="605" y="511"/>
                  </a:lnTo>
                  <a:lnTo>
                    <a:pt x="610" y="500"/>
                  </a:lnTo>
                  <a:lnTo>
                    <a:pt x="615" y="490"/>
                  </a:lnTo>
                  <a:lnTo>
                    <a:pt x="618" y="480"/>
                  </a:lnTo>
                  <a:lnTo>
                    <a:pt x="618" y="480"/>
                  </a:lnTo>
                  <a:lnTo>
                    <a:pt x="618" y="480"/>
                  </a:lnTo>
                  <a:lnTo>
                    <a:pt x="620" y="468"/>
                  </a:lnTo>
                  <a:lnTo>
                    <a:pt x="621" y="457"/>
                  </a:lnTo>
                  <a:lnTo>
                    <a:pt x="621" y="444"/>
                  </a:lnTo>
                  <a:lnTo>
                    <a:pt x="620" y="431"/>
                  </a:lnTo>
                  <a:lnTo>
                    <a:pt x="618" y="417"/>
                  </a:lnTo>
                  <a:lnTo>
                    <a:pt x="615" y="404"/>
                  </a:lnTo>
                  <a:lnTo>
                    <a:pt x="611" y="389"/>
                  </a:lnTo>
                  <a:lnTo>
                    <a:pt x="605" y="374"/>
                  </a:lnTo>
                  <a:lnTo>
                    <a:pt x="605" y="374"/>
                  </a:lnTo>
                  <a:lnTo>
                    <a:pt x="603" y="366"/>
                  </a:lnTo>
                  <a:lnTo>
                    <a:pt x="597" y="343"/>
                  </a:lnTo>
                  <a:lnTo>
                    <a:pt x="595" y="325"/>
                  </a:lnTo>
                  <a:lnTo>
                    <a:pt x="593" y="303"/>
                  </a:lnTo>
                  <a:lnTo>
                    <a:pt x="590" y="278"/>
                  </a:lnTo>
                  <a:lnTo>
                    <a:pt x="589" y="249"/>
                  </a:lnTo>
                  <a:lnTo>
                    <a:pt x="589" y="249"/>
                  </a:lnTo>
                  <a:lnTo>
                    <a:pt x="592" y="224"/>
                  </a:lnTo>
                  <a:lnTo>
                    <a:pt x="595" y="198"/>
                  </a:lnTo>
                  <a:lnTo>
                    <a:pt x="601" y="175"/>
                  </a:lnTo>
                  <a:lnTo>
                    <a:pt x="609" y="152"/>
                  </a:lnTo>
                  <a:lnTo>
                    <a:pt x="620" y="131"/>
                  </a:lnTo>
                  <a:lnTo>
                    <a:pt x="632" y="110"/>
                  </a:lnTo>
                  <a:lnTo>
                    <a:pt x="647" y="90"/>
                  </a:lnTo>
                  <a:lnTo>
                    <a:pt x="663" y="73"/>
                  </a:lnTo>
                  <a:lnTo>
                    <a:pt x="680" y="57"/>
                  </a:lnTo>
                  <a:lnTo>
                    <a:pt x="700" y="42"/>
                  </a:lnTo>
                  <a:lnTo>
                    <a:pt x="721" y="30"/>
                  </a:lnTo>
                  <a:lnTo>
                    <a:pt x="742" y="20"/>
                  </a:lnTo>
                  <a:lnTo>
                    <a:pt x="765" y="11"/>
                  </a:lnTo>
                  <a:lnTo>
                    <a:pt x="788" y="5"/>
                  </a:lnTo>
                  <a:lnTo>
                    <a:pt x="814" y="1"/>
                  </a:lnTo>
                  <a:lnTo>
                    <a:pt x="839" y="0"/>
                  </a:lnTo>
                  <a:lnTo>
                    <a:pt x="839" y="0"/>
                  </a:lnTo>
                  <a:lnTo>
                    <a:pt x="864" y="1"/>
                  </a:lnTo>
                  <a:lnTo>
                    <a:pt x="890" y="5"/>
                  </a:lnTo>
                  <a:lnTo>
                    <a:pt x="913" y="11"/>
                  </a:lnTo>
                  <a:lnTo>
                    <a:pt x="936" y="20"/>
                  </a:lnTo>
                  <a:lnTo>
                    <a:pt x="958" y="30"/>
                  </a:lnTo>
                  <a:lnTo>
                    <a:pt x="978" y="42"/>
                  </a:lnTo>
                  <a:lnTo>
                    <a:pt x="998" y="57"/>
                  </a:lnTo>
                  <a:lnTo>
                    <a:pt x="1015" y="73"/>
                  </a:lnTo>
                  <a:lnTo>
                    <a:pt x="1031" y="90"/>
                  </a:lnTo>
                  <a:lnTo>
                    <a:pt x="1046" y="110"/>
                  </a:lnTo>
                  <a:lnTo>
                    <a:pt x="1058" y="131"/>
                  </a:lnTo>
                  <a:lnTo>
                    <a:pt x="1068" y="152"/>
                  </a:lnTo>
                  <a:lnTo>
                    <a:pt x="1078" y="175"/>
                  </a:lnTo>
                  <a:lnTo>
                    <a:pt x="1083" y="198"/>
                  </a:lnTo>
                  <a:lnTo>
                    <a:pt x="1087" y="224"/>
                  </a:lnTo>
                  <a:lnTo>
                    <a:pt x="1088" y="249"/>
                  </a:lnTo>
                  <a:lnTo>
                    <a:pt x="1088" y="249"/>
                  </a:lnTo>
                  <a:lnTo>
                    <a:pt x="1088" y="278"/>
                  </a:lnTo>
                  <a:lnTo>
                    <a:pt x="1086" y="303"/>
                  </a:lnTo>
                  <a:lnTo>
                    <a:pt x="1083" y="325"/>
                  </a:lnTo>
                  <a:lnTo>
                    <a:pt x="1081" y="343"/>
                  </a:lnTo>
                  <a:lnTo>
                    <a:pt x="1075" y="366"/>
                  </a:lnTo>
                  <a:lnTo>
                    <a:pt x="1073" y="374"/>
                  </a:lnTo>
                  <a:lnTo>
                    <a:pt x="1073" y="374"/>
                  </a:lnTo>
                  <a:lnTo>
                    <a:pt x="1067" y="389"/>
                  </a:lnTo>
                  <a:lnTo>
                    <a:pt x="1063" y="402"/>
                  </a:lnTo>
                  <a:lnTo>
                    <a:pt x="1059" y="416"/>
                  </a:lnTo>
                  <a:lnTo>
                    <a:pt x="1057" y="430"/>
                  </a:lnTo>
                  <a:lnTo>
                    <a:pt x="1054" y="443"/>
                  </a:lnTo>
                  <a:lnTo>
                    <a:pt x="1053" y="455"/>
                  </a:lnTo>
                  <a:lnTo>
                    <a:pt x="1053" y="468"/>
                  </a:lnTo>
                  <a:lnTo>
                    <a:pt x="1054" y="480"/>
                  </a:lnTo>
                  <a:lnTo>
                    <a:pt x="1054" y="480"/>
                  </a:lnTo>
                  <a:lnTo>
                    <a:pt x="1054" y="480"/>
                  </a:lnTo>
                  <a:lnTo>
                    <a:pt x="1056" y="492"/>
                  </a:lnTo>
                  <a:lnTo>
                    <a:pt x="1058" y="504"/>
                  </a:lnTo>
                  <a:lnTo>
                    <a:pt x="1061" y="514"/>
                  </a:lnTo>
                  <a:lnTo>
                    <a:pt x="1065" y="525"/>
                  </a:lnTo>
                  <a:lnTo>
                    <a:pt x="1069" y="534"/>
                  </a:lnTo>
                  <a:lnTo>
                    <a:pt x="1076" y="543"/>
                  </a:lnTo>
                  <a:lnTo>
                    <a:pt x="1082" y="551"/>
                  </a:lnTo>
                  <a:lnTo>
                    <a:pt x="1090" y="558"/>
                  </a:lnTo>
                  <a:lnTo>
                    <a:pt x="1098" y="564"/>
                  </a:lnTo>
                  <a:lnTo>
                    <a:pt x="1107" y="570"/>
                  </a:lnTo>
                  <a:lnTo>
                    <a:pt x="1117" y="573"/>
                  </a:lnTo>
                  <a:lnTo>
                    <a:pt x="1127" y="576"/>
                  </a:lnTo>
                  <a:lnTo>
                    <a:pt x="1139" y="579"/>
                  </a:lnTo>
                  <a:lnTo>
                    <a:pt x="1150" y="580"/>
                  </a:lnTo>
                  <a:lnTo>
                    <a:pt x="1163" y="580"/>
                  </a:lnTo>
                  <a:lnTo>
                    <a:pt x="1177" y="579"/>
                  </a:lnTo>
                  <a:lnTo>
                    <a:pt x="1177" y="579"/>
                  </a:lnTo>
                  <a:lnTo>
                    <a:pt x="1215" y="574"/>
                  </a:lnTo>
                  <a:lnTo>
                    <a:pt x="1253" y="568"/>
                  </a:lnTo>
                  <a:lnTo>
                    <a:pt x="1291" y="561"/>
                  </a:lnTo>
                  <a:lnTo>
                    <a:pt x="1332" y="552"/>
                  </a:lnTo>
                  <a:lnTo>
                    <a:pt x="1378" y="541"/>
                  </a:lnTo>
                  <a:lnTo>
                    <a:pt x="1431" y="525"/>
                  </a:lnTo>
                  <a:lnTo>
                    <a:pt x="1493" y="505"/>
                  </a:lnTo>
                  <a:lnTo>
                    <a:pt x="1566" y="480"/>
                  </a:lnTo>
                  <a:lnTo>
                    <a:pt x="1574" y="480"/>
                  </a:lnTo>
                  <a:lnTo>
                    <a:pt x="1574" y="480"/>
                  </a:lnTo>
                  <a:lnTo>
                    <a:pt x="1549" y="552"/>
                  </a:lnTo>
                  <a:lnTo>
                    <a:pt x="1529" y="616"/>
                  </a:lnTo>
                  <a:lnTo>
                    <a:pt x="1513" y="671"/>
                  </a:lnTo>
                  <a:lnTo>
                    <a:pt x="1501" y="719"/>
                  </a:lnTo>
                  <a:lnTo>
                    <a:pt x="1492" y="762"/>
                  </a:lnTo>
                  <a:lnTo>
                    <a:pt x="1485" y="802"/>
                  </a:lnTo>
                  <a:lnTo>
                    <a:pt x="1479" y="841"/>
                  </a:lnTo>
                  <a:lnTo>
                    <a:pt x="1475" y="881"/>
                  </a:lnTo>
                  <a:lnTo>
                    <a:pt x="1475" y="881"/>
                  </a:lnTo>
                  <a:lnTo>
                    <a:pt x="1474" y="900"/>
                  </a:lnTo>
                  <a:lnTo>
                    <a:pt x="1475" y="917"/>
                  </a:lnTo>
                  <a:lnTo>
                    <a:pt x="1478" y="934"/>
                  </a:lnTo>
                  <a:lnTo>
                    <a:pt x="1484" y="949"/>
                  </a:lnTo>
                  <a:lnTo>
                    <a:pt x="1491" y="961"/>
                  </a:lnTo>
                  <a:lnTo>
                    <a:pt x="1500" y="973"/>
                  </a:lnTo>
                  <a:lnTo>
                    <a:pt x="1512" y="982"/>
                  </a:lnTo>
                  <a:lnTo>
                    <a:pt x="1525" y="990"/>
                  </a:lnTo>
                  <a:lnTo>
                    <a:pt x="1539" y="996"/>
                  </a:lnTo>
                  <a:lnTo>
                    <a:pt x="1557" y="1000"/>
                  </a:lnTo>
                  <a:lnTo>
                    <a:pt x="1574" y="1003"/>
                  </a:lnTo>
                  <a:lnTo>
                    <a:pt x="1592" y="1004"/>
                  </a:lnTo>
                  <a:lnTo>
                    <a:pt x="1613" y="1002"/>
                  </a:lnTo>
                  <a:lnTo>
                    <a:pt x="1634" y="998"/>
                  </a:lnTo>
                  <a:lnTo>
                    <a:pt x="1657" y="992"/>
                  </a:lnTo>
                  <a:lnTo>
                    <a:pt x="1680" y="984"/>
                  </a:lnTo>
                  <a:lnTo>
                    <a:pt x="1680" y="984"/>
                  </a:lnTo>
                  <a:lnTo>
                    <a:pt x="1688" y="982"/>
                  </a:lnTo>
                  <a:lnTo>
                    <a:pt x="1711" y="976"/>
                  </a:lnTo>
                  <a:lnTo>
                    <a:pt x="1728" y="974"/>
                  </a:lnTo>
                  <a:lnTo>
                    <a:pt x="1750" y="972"/>
                  </a:lnTo>
                  <a:lnTo>
                    <a:pt x="1774" y="969"/>
                  </a:lnTo>
                  <a:lnTo>
                    <a:pt x="1804" y="968"/>
                  </a:lnTo>
                  <a:lnTo>
                    <a:pt x="1804" y="968"/>
                  </a:lnTo>
                  <a:lnTo>
                    <a:pt x="1830" y="969"/>
                  </a:lnTo>
                  <a:lnTo>
                    <a:pt x="1855" y="974"/>
                  </a:lnTo>
                  <a:lnTo>
                    <a:pt x="1878" y="980"/>
                  </a:lnTo>
                  <a:lnTo>
                    <a:pt x="1901" y="988"/>
                  </a:lnTo>
                  <a:lnTo>
                    <a:pt x="1923" y="998"/>
                  </a:lnTo>
                  <a:lnTo>
                    <a:pt x="1944" y="1011"/>
                  </a:lnTo>
                  <a:lnTo>
                    <a:pt x="1963" y="1026"/>
                  </a:lnTo>
                  <a:lnTo>
                    <a:pt x="1980" y="1042"/>
                  </a:lnTo>
                  <a:lnTo>
                    <a:pt x="1996" y="1059"/>
                  </a:lnTo>
                  <a:lnTo>
                    <a:pt x="2010" y="1079"/>
                  </a:lnTo>
                  <a:lnTo>
                    <a:pt x="2023" y="1100"/>
                  </a:lnTo>
                  <a:lnTo>
                    <a:pt x="2033" y="1121"/>
                  </a:lnTo>
                  <a:lnTo>
                    <a:pt x="2043" y="1143"/>
                  </a:lnTo>
                  <a:lnTo>
                    <a:pt x="2048" y="1168"/>
                  </a:lnTo>
                  <a:lnTo>
                    <a:pt x="2052" y="1193"/>
                  </a:lnTo>
                  <a:lnTo>
                    <a:pt x="2053" y="1218"/>
                  </a:lnTo>
                  <a:lnTo>
                    <a:pt x="2053" y="1218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BC79E459-229F-762D-0C7A-86C18EE333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8" y="698"/>
              <a:ext cx="840" cy="1216"/>
            </a:xfrm>
            <a:custGeom>
              <a:avLst/>
              <a:gdLst>
                <a:gd name="T0" fmla="*/ 1465 w 1679"/>
                <a:gd name="T1" fmla="*/ 1451 h 2433"/>
                <a:gd name="T2" fmla="*/ 1298 w 1679"/>
                <a:gd name="T3" fmla="*/ 1459 h 2433"/>
                <a:gd name="T4" fmla="*/ 1142 w 1679"/>
                <a:gd name="T5" fmla="*/ 1355 h 2433"/>
                <a:gd name="T6" fmla="*/ 1100 w 1679"/>
                <a:gd name="T7" fmla="*/ 1191 h 2433"/>
                <a:gd name="T8" fmla="*/ 1190 w 1679"/>
                <a:gd name="T9" fmla="*/ 1025 h 2433"/>
                <a:gd name="T10" fmla="*/ 1348 w 1679"/>
                <a:gd name="T11" fmla="*/ 968 h 2433"/>
                <a:gd name="T12" fmla="*/ 1494 w 1679"/>
                <a:gd name="T13" fmla="*/ 991 h 2433"/>
                <a:gd name="T14" fmla="*/ 1608 w 1679"/>
                <a:gd name="T15" fmla="*/ 995 h 2433"/>
                <a:gd name="T16" fmla="*/ 1674 w 1679"/>
                <a:gd name="T17" fmla="*/ 931 h 2433"/>
                <a:gd name="T18" fmla="*/ 1660 w 1679"/>
                <a:gd name="T19" fmla="*/ 760 h 2433"/>
                <a:gd name="T20" fmla="*/ 1578 w 1679"/>
                <a:gd name="T21" fmla="*/ 480 h 2433"/>
                <a:gd name="T22" fmla="*/ 1142 w 1679"/>
                <a:gd name="T23" fmla="*/ 555 h 2433"/>
                <a:gd name="T24" fmla="*/ 1071 w 1679"/>
                <a:gd name="T25" fmla="*/ 506 h 2433"/>
                <a:gd name="T26" fmla="*/ 1062 w 1679"/>
                <a:gd name="T27" fmla="*/ 455 h 2433"/>
                <a:gd name="T28" fmla="*/ 1084 w 1679"/>
                <a:gd name="T29" fmla="*/ 366 h 2433"/>
                <a:gd name="T30" fmla="*/ 1092 w 1679"/>
                <a:gd name="T31" fmla="*/ 198 h 2433"/>
                <a:gd name="T32" fmla="*/ 987 w 1679"/>
                <a:gd name="T33" fmla="*/ 42 h 2433"/>
                <a:gd name="T34" fmla="*/ 843 w 1679"/>
                <a:gd name="T35" fmla="*/ 0 h 2433"/>
                <a:gd name="T36" fmla="*/ 721 w 1679"/>
                <a:gd name="T37" fmla="*/ 30 h 2433"/>
                <a:gd name="T38" fmla="*/ 601 w 1679"/>
                <a:gd name="T39" fmla="*/ 175 h 2433"/>
                <a:gd name="T40" fmla="*/ 598 w 1679"/>
                <a:gd name="T41" fmla="*/ 343 h 2433"/>
                <a:gd name="T42" fmla="*/ 622 w 1679"/>
                <a:gd name="T43" fmla="*/ 444 h 2433"/>
                <a:gd name="T44" fmla="*/ 599 w 1679"/>
                <a:gd name="T45" fmla="*/ 519 h 2433"/>
                <a:gd name="T46" fmla="*/ 515 w 1679"/>
                <a:gd name="T47" fmla="*/ 558 h 2433"/>
                <a:gd name="T48" fmla="*/ 56 w 1679"/>
                <a:gd name="T49" fmla="*/ 614 h 2433"/>
                <a:gd name="T50" fmla="*/ 2 w 1679"/>
                <a:gd name="T51" fmla="*/ 888 h 2433"/>
                <a:gd name="T52" fmla="*/ 19 w 1679"/>
                <a:gd name="T53" fmla="*/ 958 h 2433"/>
                <a:gd name="T54" fmla="*/ 65 w 1679"/>
                <a:gd name="T55" fmla="*/ 992 h 2433"/>
                <a:gd name="T56" fmla="*/ 186 w 1679"/>
                <a:gd name="T57" fmla="*/ 991 h 2433"/>
                <a:gd name="T58" fmla="*/ 280 w 1679"/>
                <a:gd name="T59" fmla="*/ 970 h 2433"/>
                <a:gd name="T60" fmla="*/ 449 w 1679"/>
                <a:gd name="T61" fmla="*/ 998 h 2433"/>
                <a:gd name="T62" fmla="*/ 569 w 1679"/>
                <a:gd name="T63" fmla="*/ 1142 h 2433"/>
                <a:gd name="T64" fmla="*/ 561 w 1679"/>
                <a:gd name="T65" fmla="*/ 1313 h 2433"/>
                <a:gd name="T66" fmla="*/ 429 w 1679"/>
                <a:gd name="T67" fmla="*/ 1445 h 2433"/>
                <a:gd name="T68" fmla="*/ 259 w 1679"/>
                <a:gd name="T69" fmla="*/ 1460 h 2433"/>
                <a:gd name="T70" fmla="*/ 165 w 1679"/>
                <a:gd name="T71" fmla="*/ 1436 h 2433"/>
                <a:gd name="T72" fmla="*/ 65 w 1679"/>
                <a:gd name="T73" fmla="*/ 1441 h 2433"/>
                <a:gd name="T74" fmla="*/ 14 w 1679"/>
                <a:gd name="T75" fmla="*/ 1482 h 2433"/>
                <a:gd name="T76" fmla="*/ 3 w 1679"/>
                <a:gd name="T77" fmla="*/ 1556 h 2433"/>
                <a:gd name="T78" fmla="*/ 75 w 1679"/>
                <a:gd name="T79" fmla="*/ 1881 h 2433"/>
                <a:gd name="T80" fmla="*/ 529 w 1679"/>
                <a:gd name="T81" fmla="*/ 1876 h 2433"/>
                <a:gd name="T82" fmla="*/ 606 w 1679"/>
                <a:gd name="T83" fmla="*/ 1922 h 2433"/>
                <a:gd name="T84" fmla="*/ 621 w 1679"/>
                <a:gd name="T85" fmla="*/ 2002 h 2433"/>
                <a:gd name="T86" fmla="*/ 596 w 1679"/>
                <a:gd name="T87" fmla="*/ 2108 h 2433"/>
                <a:gd name="T88" fmla="*/ 611 w 1679"/>
                <a:gd name="T89" fmla="*/ 2281 h 2433"/>
                <a:gd name="T90" fmla="*/ 743 w 1679"/>
                <a:gd name="T91" fmla="*/ 2413 h 2433"/>
                <a:gd name="T92" fmla="*/ 848 w 1679"/>
                <a:gd name="T93" fmla="*/ 2433 h 2433"/>
                <a:gd name="T94" fmla="*/ 1006 w 1679"/>
                <a:gd name="T95" fmla="*/ 2376 h 2433"/>
                <a:gd name="T96" fmla="*/ 1096 w 1679"/>
                <a:gd name="T97" fmla="*/ 2209 h 2433"/>
                <a:gd name="T98" fmla="*/ 1082 w 1679"/>
                <a:gd name="T99" fmla="*/ 2059 h 2433"/>
                <a:gd name="T100" fmla="*/ 1062 w 1679"/>
                <a:gd name="T101" fmla="*/ 1965 h 2433"/>
                <a:gd name="T102" fmla="*/ 1077 w 1679"/>
                <a:gd name="T103" fmla="*/ 1918 h 2433"/>
                <a:gd name="T104" fmla="*/ 1153 w 1679"/>
                <a:gd name="T105" fmla="*/ 1876 h 2433"/>
                <a:gd name="T106" fmla="*/ 1578 w 1679"/>
                <a:gd name="T107" fmla="*/ 1953 h 2433"/>
                <a:gd name="T108" fmla="*/ 1667 w 1679"/>
                <a:gd name="T109" fmla="*/ 1633 h 2433"/>
                <a:gd name="T110" fmla="*/ 1670 w 1679"/>
                <a:gd name="T111" fmla="*/ 1490 h 2433"/>
                <a:gd name="T112" fmla="*/ 1595 w 1679"/>
                <a:gd name="T113" fmla="*/ 1435 h 2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79" h="2433">
                  <a:moveTo>
                    <a:pt x="1553" y="1433"/>
                  </a:moveTo>
                  <a:lnTo>
                    <a:pt x="1553" y="1433"/>
                  </a:lnTo>
                  <a:lnTo>
                    <a:pt x="1534" y="1434"/>
                  </a:lnTo>
                  <a:lnTo>
                    <a:pt x="1515" y="1436"/>
                  </a:lnTo>
                  <a:lnTo>
                    <a:pt x="1494" y="1442"/>
                  </a:lnTo>
                  <a:lnTo>
                    <a:pt x="1473" y="1449"/>
                  </a:lnTo>
                  <a:lnTo>
                    <a:pt x="1473" y="1449"/>
                  </a:lnTo>
                  <a:lnTo>
                    <a:pt x="1465" y="1451"/>
                  </a:lnTo>
                  <a:lnTo>
                    <a:pt x="1442" y="1457"/>
                  </a:lnTo>
                  <a:lnTo>
                    <a:pt x="1424" y="1459"/>
                  </a:lnTo>
                  <a:lnTo>
                    <a:pt x="1403" y="1461"/>
                  </a:lnTo>
                  <a:lnTo>
                    <a:pt x="1378" y="1464"/>
                  </a:lnTo>
                  <a:lnTo>
                    <a:pt x="1348" y="1464"/>
                  </a:lnTo>
                  <a:lnTo>
                    <a:pt x="1348" y="1464"/>
                  </a:lnTo>
                  <a:lnTo>
                    <a:pt x="1322" y="1462"/>
                  </a:lnTo>
                  <a:lnTo>
                    <a:pt x="1298" y="1459"/>
                  </a:lnTo>
                  <a:lnTo>
                    <a:pt x="1274" y="1453"/>
                  </a:lnTo>
                  <a:lnTo>
                    <a:pt x="1251" y="1445"/>
                  </a:lnTo>
                  <a:lnTo>
                    <a:pt x="1230" y="1435"/>
                  </a:lnTo>
                  <a:lnTo>
                    <a:pt x="1210" y="1422"/>
                  </a:lnTo>
                  <a:lnTo>
                    <a:pt x="1190" y="1407"/>
                  </a:lnTo>
                  <a:lnTo>
                    <a:pt x="1173" y="1391"/>
                  </a:lnTo>
                  <a:lnTo>
                    <a:pt x="1157" y="1374"/>
                  </a:lnTo>
                  <a:lnTo>
                    <a:pt x="1142" y="1355"/>
                  </a:lnTo>
                  <a:lnTo>
                    <a:pt x="1130" y="1335"/>
                  </a:lnTo>
                  <a:lnTo>
                    <a:pt x="1119" y="1313"/>
                  </a:lnTo>
                  <a:lnTo>
                    <a:pt x="1110" y="1290"/>
                  </a:lnTo>
                  <a:lnTo>
                    <a:pt x="1105" y="1267"/>
                  </a:lnTo>
                  <a:lnTo>
                    <a:pt x="1100" y="1241"/>
                  </a:lnTo>
                  <a:lnTo>
                    <a:pt x="1099" y="1216"/>
                  </a:lnTo>
                  <a:lnTo>
                    <a:pt x="1099" y="1216"/>
                  </a:lnTo>
                  <a:lnTo>
                    <a:pt x="1100" y="1191"/>
                  </a:lnTo>
                  <a:lnTo>
                    <a:pt x="1105" y="1166"/>
                  </a:lnTo>
                  <a:lnTo>
                    <a:pt x="1110" y="1142"/>
                  </a:lnTo>
                  <a:lnTo>
                    <a:pt x="1119" y="1120"/>
                  </a:lnTo>
                  <a:lnTo>
                    <a:pt x="1130" y="1098"/>
                  </a:lnTo>
                  <a:lnTo>
                    <a:pt x="1142" y="1078"/>
                  </a:lnTo>
                  <a:lnTo>
                    <a:pt x="1157" y="1059"/>
                  </a:lnTo>
                  <a:lnTo>
                    <a:pt x="1173" y="1041"/>
                  </a:lnTo>
                  <a:lnTo>
                    <a:pt x="1190" y="1025"/>
                  </a:lnTo>
                  <a:lnTo>
                    <a:pt x="1210" y="1011"/>
                  </a:lnTo>
                  <a:lnTo>
                    <a:pt x="1230" y="998"/>
                  </a:lnTo>
                  <a:lnTo>
                    <a:pt x="1251" y="988"/>
                  </a:lnTo>
                  <a:lnTo>
                    <a:pt x="1274" y="980"/>
                  </a:lnTo>
                  <a:lnTo>
                    <a:pt x="1298" y="974"/>
                  </a:lnTo>
                  <a:lnTo>
                    <a:pt x="1322" y="969"/>
                  </a:lnTo>
                  <a:lnTo>
                    <a:pt x="1348" y="968"/>
                  </a:lnTo>
                  <a:lnTo>
                    <a:pt x="1348" y="968"/>
                  </a:lnTo>
                  <a:lnTo>
                    <a:pt x="1378" y="969"/>
                  </a:lnTo>
                  <a:lnTo>
                    <a:pt x="1403" y="970"/>
                  </a:lnTo>
                  <a:lnTo>
                    <a:pt x="1424" y="974"/>
                  </a:lnTo>
                  <a:lnTo>
                    <a:pt x="1442" y="976"/>
                  </a:lnTo>
                  <a:lnTo>
                    <a:pt x="1465" y="982"/>
                  </a:lnTo>
                  <a:lnTo>
                    <a:pt x="1473" y="984"/>
                  </a:lnTo>
                  <a:lnTo>
                    <a:pt x="1473" y="984"/>
                  </a:lnTo>
                  <a:lnTo>
                    <a:pt x="1494" y="991"/>
                  </a:lnTo>
                  <a:lnTo>
                    <a:pt x="1515" y="997"/>
                  </a:lnTo>
                  <a:lnTo>
                    <a:pt x="1534" y="999"/>
                  </a:lnTo>
                  <a:lnTo>
                    <a:pt x="1553" y="999"/>
                  </a:lnTo>
                  <a:lnTo>
                    <a:pt x="1553" y="999"/>
                  </a:lnTo>
                  <a:lnTo>
                    <a:pt x="1568" y="1000"/>
                  </a:lnTo>
                  <a:lnTo>
                    <a:pt x="1582" y="999"/>
                  </a:lnTo>
                  <a:lnTo>
                    <a:pt x="1595" y="997"/>
                  </a:lnTo>
                  <a:lnTo>
                    <a:pt x="1608" y="995"/>
                  </a:lnTo>
                  <a:lnTo>
                    <a:pt x="1620" y="990"/>
                  </a:lnTo>
                  <a:lnTo>
                    <a:pt x="1631" y="985"/>
                  </a:lnTo>
                  <a:lnTo>
                    <a:pt x="1641" y="979"/>
                  </a:lnTo>
                  <a:lnTo>
                    <a:pt x="1649" y="972"/>
                  </a:lnTo>
                  <a:lnTo>
                    <a:pt x="1658" y="962"/>
                  </a:lnTo>
                  <a:lnTo>
                    <a:pt x="1664" y="953"/>
                  </a:lnTo>
                  <a:lnTo>
                    <a:pt x="1670" y="943"/>
                  </a:lnTo>
                  <a:lnTo>
                    <a:pt x="1674" y="931"/>
                  </a:lnTo>
                  <a:lnTo>
                    <a:pt x="1677" y="920"/>
                  </a:lnTo>
                  <a:lnTo>
                    <a:pt x="1678" y="906"/>
                  </a:lnTo>
                  <a:lnTo>
                    <a:pt x="1679" y="892"/>
                  </a:lnTo>
                  <a:lnTo>
                    <a:pt x="1677" y="877"/>
                  </a:lnTo>
                  <a:lnTo>
                    <a:pt x="1677" y="877"/>
                  </a:lnTo>
                  <a:lnTo>
                    <a:pt x="1672" y="838"/>
                  </a:lnTo>
                  <a:lnTo>
                    <a:pt x="1667" y="800"/>
                  </a:lnTo>
                  <a:lnTo>
                    <a:pt x="1660" y="760"/>
                  </a:lnTo>
                  <a:lnTo>
                    <a:pt x="1652" y="717"/>
                  </a:lnTo>
                  <a:lnTo>
                    <a:pt x="1639" y="669"/>
                  </a:lnTo>
                  <a:lnTo>
                    <a:pt x="1624" y="614"/>
                  </a:lnTo>
                  <a:lnTo>
                    <a:pt x="1605" y="551"/>
                  </a:lnTo>
                  <a:lnTo>
                    <a:pt x="1579" y="480"/>
                  </a:lnTo>
                  <a:lnTo>
                    <a:pt x="1579" y="480"/>
                  </a:lnTo>
                  <a:lnTo>
                    <a:pt x="1578" y="480"/>
                  </a:lnTo>
                  <a:lnTo>
                    <a:pt x="1578" y="480"/>
                  </a:lnTo>
                  <a:lnTo>
                    <a:pt x="1226" y="552"/>
                  </a:lnTo>
                  <a:lnTo>
                    <a:pt x="1226" y="552"/>
                  </a:lnTo>
                  <a:lnTo>
                    <a:pt x="1210" y="556"/>
                  </a:lnTo>
                  <a:lnTo>
                    <a:pt x="1195" y="557"/>
                  </a:lnTo>
                  <a:lnTo>
                    <a:pt x="1180" y="558"/>
                  </a:lnTo>
                  <a:lnTo>
                    <a:pt x="1167" y="558"/>
                  </a:lnTo>
                  <a:lnTo>
                    <a:pt x="1153" y="557"/>
                  </a:lnTo>
                  <a:lnTo>
                    <a:pt x="1142" y="555"/>
                  </a:lnTo>
                  <a:lnTo>
                    <a:pt x="1129" y="551"/>
                  </a:lnTo>
                  <a:lnTo>
                    <a:pt x="1119" y="548"/>
                  </a:lnTo>
                  <a:lnTo>
                    <a:pt x="1109" y="543"/>
                  </a:lnTo>
                  <a:lnTo>
                    <a:pt x="1100" y="537"/>
                  </a:lnTo>
                  <a:lnTo>
                    <a:pt x="1091" y="530"/>
                  </a:lnTo>
                  <a:lnTo>
                    <a:pt x="1084" y="523"/>
                  </a:lnTo>
                  <a:lnTo>
                    <a:pt x="1077" y="515"/>
                  </a:lnTo>
                  <a:lnTo>
                    <a:pt x="1071" y="506"/>
                  </a:lnTo>
                  <a:lnTo>
                    <a:pt x="1067" y="497"/>
                  </a:lnTo>
                  <a:lnTo>
                    <a:pt x="1063" y="487"/>
                  </a:lnTo>
                  <a:lnTo>
                    <a:pt x="1063" y="487"/>
                  </a:lnTo>
                  <a:lnTo>
                    <a:pt x="1062" y="480"/>
                  </a:lnTo>
                  <a:lnTo>
                    <a:pt x="1062" y="480"/>
                  </a:lnTo>
                  <a:lnTo>
                    <a:pt x="1062" y="480"/>
                  </a:lnTo>
                  <a:lnTo>
                    <a:pt x="1062" y="467"/>
                  </a:lnTo>
                  <a:lnTo>
                    <a:pt x="1062" y="455"/>
                  </a:lnTo>
                  <a:lnTo>
                    <a:pt x="1063" y="443"/>
                  </a:lnTo>
                  <a:lnTo>
                    <a:pt x="1066" y="430"/>
                  </a:lnTo>
                  <a:lnTo>
                    <a:pt x="1068" y="416"/>
                  </a:lnTo>
                  <a:lnTo>
                    <a:pt x="1071" y="402"/>
                  </a:lnTo>
                  <a:lnTo>
                    <a:pt x="1076" y="389"/>
                  </a:lnTo>
                  <a:lnTo>
                    <a:pt x="1082" y="374"/>
                  </a:lnTo>
                  <a:lnTo>
                    <a:pt x="1082" y="374"/>
                  </a:lnTo>
                  <a:lnTo>
                    <a:pt x="1084" y="366"/>
                  </a:lnTo>
                  <a:lnTo>
                    <a:pt x="1089" y="343"/>
                  </a:lnTo>
                  <a:lnTo>
                    <a:pt x="1092" y="325"/>
                  </a:lnTo>
                  <a:lnTo>
                    <a:pt x="1094" y="303"/>
                  </a:lnTo>
                  <a:lnTo>
                    <a:pt x="1097" y="278"/>
                  </a:lnTo>
                  <a:lnTo>
                    <a:pt x="1097" y="249"/>
                  </a:lnTo>
                  <a:lnTo>
                    <a:pt x="1097" y="249"/>
                  </a:lnTo>
                  <a:lnTo>
                    <a:pt x="1096" y="224"/>
                  </a:lnTo>
                  <a:lnTo>
                    <a:pt x="1092" y="198"/>
                  </a:lnTo>
                  <a:lnTo>
                    <a:pt x="1086" y="175"/>
                  </a:lnTo>
                  <a:lnTo>
                    <a:pt x="1077" y="152"/>
                  </a:lnTo>
                  <a:lnTo>
                    <a:pt x="1067" y="131"/>
                  </a:lnTo>
                  <a:lnTo>
                    <a:pt x="1054" y="110"/>
                  </a:lnTo>
                  <a:lnTo>
                    <a:pt x="1040" y="90"/>
                  </a:lnTo>
                  <a:lnTo>
                    <a:pt x="1024" y="73"/>
                  </a:lnTo>
                  <a:lnTo>
                    <a:pt x="1006" y="57"/>
                  </a:lnTo>
                  <a:lnTo>
                    <a:pt x="987" y="42"/>
                  </a:lnTo>
                  <a:lnTo>
                    <a:pt x="967" y="30"/>
                  </a:lnTo>
                  <a:lnTo>
                    <a:pt x="945" y="20"/>
                  </a:lnTo>
                  <a:lnTo>
                    <a:pt x="922" y="11"/>
                  </a:lnTo>
                  <a:lnTo>
                    <a:pt x="897" y="5"/>
                  </a:lnTo>
                  <a:lnTo>
                    <a:pt x="873" y="1"/>
                  </a:lnTo>
                  <a:lnTo>
                    <a:pt x="848" y="0"/>
                  </a:lnTo>
                  <a:lnTo>
                    <a:pt x="848" y="0"/>
                  </a:lnTo>
                  <a:lnTo>
                    <a:pt x="843" y="0"/>
                  </a:lnTo>
                  <a:lnTo>
                    <a:pt x="843" y="0"/>
                  </a:lnTo>
                  <a:lnTo>
                    <a:pt x="840" y="0"/>
                  </a:lnTo>
                  <a:lnTo>
                    <a:pt x="840" y="0"/>
                  </a:lnTo>
                  <a:lnTo>
                    <a:pt x="815" y="1"/>
                  </a:lnTo>
                  <a:lnTo>
                    <a:pt x="789" y="5"/>
                  </a:lnTo>
                  <a:lnTo>
                    <a:pt x="766" y="11"/>
                  </a:lnTo>
                  <a:lnTo>
                    <a:pt x="743" y="20"/>
                  </a:lnTo>
                  <a:lnTo>
                    <a:pt x="721" y="30"/>
                  </a:lnTo>
                  <a:lnTo>
                    <a:pt x="701" y="43"/>
                  </a:lnTo>
                  <a:lnTo>
                    <a:pt x="681" y="57"/>
                  </a:lnTo>
                  <a:lnTo>
                    <a:pt x="664" y="73"/>
                  </a:lnTo>
                  <a:lnTo>
                    <a:pt x="648" y="90"/>
                  </a:lnTo>
                  <a:lnTo>
                    <a:pt x="634" y="110"/>
                  </a:lnTo>
                  <a:lnTo>
                    <a:pt x="621" y="131"/>
                  </a:lnTo>
                  <a:lnTo>
                    <a:pt x="611" y="152"/>
                  </a:lnTo>
                  <a:lnTo>
                    <a:pt x="601" y="175"/>
                  </a:lnTo>
                  <a:lnTo>
                    <a:pt x="596" y="198"/>
                  </a:lnTo>
                  <a:lnTo>
                    <a:pt x="592" y="224"/>
                  </a:lnTo>
                  <a:lnTo>
                    <a:pt x="591" y="249"/>
                  </a:lnTo>
                  <a:lnTo>
                    <a:pt x="591" y="249"/>
                  </a:lnTo>
                  <a:lnTo>
                    <a:pt x="591" y="279"/>
                  </a:lnTo>
                  <a:lnTo>
                    <a:pt x="593" y="303"/>
                  </a:lnTo>
                  <a:lnTo>
                    <a:pt x="596" y="325"/>
                  </a:lnTo>
                  <a:lnTo>
                    <a:pt x="598" y="343"/>
                  </a:lnTo>
                  <a:lnTo>
                    <a:pt x="604" y="366"/>
                  </a:lnTo>
                  <a:lnTo>
                    <a:pt x="606" y="374"/>
                  </a:lnTo>
                  <a:lnTo>
                    <a:pt x="606" y="374"/>
                  </a:lnTo>
                  <a:lnTo>
                    <a:pt x="612" y="389"/>
                  </a:lnTo>
                  <a:lnTo>
                    <a:pt x="615" y="404"/>
                  </a:lnTo>
                  <a:lnTo>
                    <a:pt x="619" y="417"/>
                  </a:lnTo>
                  <a:lnTo>
                    <a:pt x="621" y="431"/>
                  </a:lnTo>
                  <a:lnTo>
                    <a:pt x="622" y="444"/>
                  </a:lnTo>
                  <a:lnTo>
                    <a:pt x="622" y="457"/>
                  </a:lnTo>
                  <a:lnTo>
                    <a:pt x="621" y="468"/>
                  </a:lnTo>
                  <a:lnTo>
                    <a:pt x="619" y="480"/>
                  </a:lnTo>
                  <a:lnTo>
                    <a:pt x="619" y="480"/>
                  </a:lnTo>
                  <a:lnTo>
                    <a:pt x="615" y="490"/>
                  </a:lnTo>
                  <a:lnTo>
                    <a:pt x="611" y="500"/>
                  </a:lnTo>
                  <a:lnTo>
                    <a:pt x="606" y="511"/>
                  </a:lnTo>
                  <a:lnTo>
                    <a:pt x="599" y="519"/>
                  </a:lnTo>
                  <a:lnTo>
                    <a:pt x="592" y="527"/>
                  </a:lnTo>
                  <a:lnTo>
                    <a:pt x="584" y="534"/>
                  </a:lnTo>
                  <a:lnTo>
                    <a:pt x="575" y="541"/>
                  </a:lnTo>
                  <a:lnTo>
                    <a:pt x="565" y="545"/>
                  </a:lnTo>
                  <a:lnTo>
                    <a:pt x="553" y="550"/>
                  </a:lnTo>
                  <a:lnTo>
                    <a:pt x="542" y="553"/>
                  </a:lnTo>
                  <a:lnTo>
                    <a:pt x="529" y="556"/>
                  </a:lnTo>
                  <a:lnTo>
                    <a:pt x="515" y="558"/>
                  </a:lnTo>
                  <a:lnTo>
                    <a:pt x="501" y="558"/>
                  </a:lnTo>
                  <a:lnTo>
                    <a:pt x="486" y="558"/>
                  </a:lnTo>
                  <a:lnTo>
                    <a:pt x="470" y="556"/>
                  </a:lnTo>
                  <a:lnTo>
                    <a:pt x="454" y="552"/>
                  </a:lnTo>
                  <a:lnTo>
                    <a:pt x="101" y="480"/>
                  </a:lnTo>
                  <a:lnTo>
                    <a:pt x="101" y="480"/>
                  </a:lnTo>
                  <a:lnTo>
                    <a:pt x="75" y="551"/>
                  </a:lnTo>
                  <a:lnTo>
                    <a:pt x="56" y="614"/>
                  </a:lnTo>
                  <a:lnTo>
                    <a:pt x="40" y="669"/>
                  </a:lnTo>
                  <a:lnTo>
                    <a:pt x="28" y="717"/>
                  </a:lnTo>
                  <a:lnTo>
                    <a:pt x="20" y="760"/>
                  </a:lnTo>
                  <a:lnTo>
                    <a:pt x="13" y="800"/>
                  </a:lnTo>
                  <a:lnTo>
                    <a:pt x="7" y="838"/>
                  </a:lnTo>
                  <a:lnTo>
                    <a:pt x="3" y="877"/>
                  </a:lnTo>
                  <a:lnTo>
                    <a:pt x="3" y="877"/>
                  </a:lnTo>
                  <a:lnTo>
                    <a:pt x="2" y="888"/>
                  </a:lnTo>
                  <a:lnTo>
                    <a:pt x="0" y="898"/>
                  </a:lnTo>
                  <a:lnTo>
                    <a:pt x="2" y="908"/>
                  </a:lnTo>
                  <a:lnTo>
                    <a:pt x="3" y="917"/>
                  </a:lnTo>
                  <a:lnTo>
                    <a:pt x="4" y="927"/>
                  </a:lnTo>
                  <a:lnTo>
                    <a:pt x="7" y="935"/>
                  </a:lnTo>
                  <a:lnTo>
                    <a:pt x="10" y="943"/>
                  </a:lnTo>
                  <a:lnTo>
                    <a:pt x="14" y="951"/>
                  </a:lnTo>
                  <a:lnTo>
                    <a:pt x="19" y="958"/>
                  </a:lnTo>
                  <a:lnTo>
                    <a:pt x="23" y="964"/>
                  </a:lnTo>
                  <a:lnTo>
                    <a:pt x="29" y="970"/>
                  </a:lnTo>
                  <a:lnTo>
                    <a:pt x="35" y="975"/>
                  </a:lnTo>
                  <a:lnTo>
                    <a:pt x="42" y="981"/>
                  </a:lnTo>
                  <a:lnTo>
                    <a:pt x="49" y="984"/>
                  </a:lnTo>
                  <a:lnTo>
                    <a:pt x="57" y="989"/>
                  </a:lnTo>
                  <a:lnTo>
                    <a:pt x="65" y="992"/>
                  </a:lnTo>
                  <a:lnTo>
                    <a:pt x="65" y="992"/>
                  </a:lnTo>
                  <a:lnTo>
                    <a:pt x="79" y="996"/>
                  </a:lnTo>
                  <a:lnTo>
                    <a:pt x="94" y="999"/>
                  </a:lnTo>
                  <a:lnTo>
                    <a:pt x="111" y="1000"/>
                  </a:lnTo>
                  <a:lnTo>
                    <a:pt x="128" y="999"/>
                  </a:lnTo>
                  <a:lnTo>
                    <a:pt x="128" y="999"/>
                  </a:lnTo>
                  <a:lnTo>
                    <a:pt x="145" y="999"/>
                  </a:lnTo>
                  <a:lnTo>
                    <a:pt x="165" y="997"/>
                  </a:lnTo>
                  <a:lnTo>
                    <a:pt x="186" y="991"/>
                  </a:lnTo>
                  <a:lnTo>
                    <a:pt x="208" y="984"/>
                  </a:lnTo>
                  <a:lnTo>
                    <a:pt x="208" y="984"/>
                  </a:lnTo>
                  <a:lnTo>
                    <a:pt x="208" y="984"/>
                  </a:lnTo>
                  <a:lnTo>
                    <a:pt x="208" y="984"/>
                  </a:lnTo>
                  <a:lnTo>
                    <a:pt x="218" y="981"/>
                  </a:lnTo>
                  <a:lnTo>
                    <a:pt x="242" y="975"/>
                  </a:lnTo>
                  <a:lnTo>
                    <a:pt x="259" y="973"/>
                  </a:lnTo>
                  <a:lnTo>
                    <a:pt x="280" y="970"/>
                  </a:lnTo>
                  <a:lnTo>
                    <a:pt x="304" y="969"/>
                  </a:lnTo>
                  <a:lnTo>
                    <a:pt x="332" y="968"/>
                  </a:lnTo>
                  <a:lnTo>
                    <a:pt x="332" y="968"/>
                  </a:lnTo>
                  <a:lnTo>
                    <a:pt x="357" y="969"/>
                  </a:lnTo>
                  <a:lnTo>
                    <a:pt x="382" y="974"/>
                  </a:lnTo>
                  <a:lnTo>
                    <a:pt x="406" y="980"/>
                  </a:lnTo>
                  <a:lnTo>
                    <a:pt x="429" y="988"/>
                  </a:lnTo>
                  <a:lnTo>
                    <a:pt x="449" y="998"/>
                  </a:lnTo>
                  <a:lnTo>
                    <a:pt x="470" y="1011"/>
                  </a:lnTo>
                  <a:lnTo>
                    <a:pt x="490" y="1025"/>
                  </a:lnTo>
                  <a:lnTo>
                    <a:pt x="507" y="1041"/>
                  </a:lnTo>
                  <a:lnTo>
                    <a:pt x="523" y="1059"/>
                  </a:lnTo>
                  <a:lnTo>
                    <a:pt x="538" y="1078"/>
                  </a:lnTo>
                  <a:lnTo>
                    <a:pt x="551" y="1098"/>
                  </a:lnTo>
                  <a:lnTo>
                    <a:pt x="561" y="1120"/>
                  </a:lnTo>
                  <a:lnTo>
                    <a:pt x="569" y="1142"/>
                  </a:lnTo>
                  <a:lnTo>
                    <a:pt x="575" y="1166"/>
                  </a:lnTo>
                  <a:lnTo>
                    <a:pt x="580" y="1191"/>
                  </a:lnTo>
                  <a:lnTo>
                    <a:pt x="581" y="1216"/>
                  </a:lnTo>
                  <a:lnTo>
                    <a:pt x="581" y="1216"/>
                  </a:lnTo>
                  <a:lnTo>
                    <a:pt x="580" y="1241"/>
                  </a:lnTo>
                  <a:lnTo>
                    <a:pt x="575" y="1267"/>
                  </a:lnTo>
                  <a:lnTo>
                    <a:pt x="569" y="1290"/>
                  </a:lnTo>
                  <a:lnTo>
                    <a:pt x="561" y="1313"/>
                  </a:lnTo>
                  <a:lnTo>
                    <a:pt x="551" y="1335"/>
                  </a:lnTo>
                  <a:lnTo>
                    <a:pt x="538" y="1355"/>
                  </a:lnTo>
                  <a:lnTo>
                    <a:pt x="523" y="1374"/>
                  </a:lnTo>
                  <a:lnTo>
                    <a:pt x="507" y="1391"/>
                  </a:lnTo>
                  <a:lnTo>
                    <a:pt x="490" y="1407"/>
                  </a:lnTo>
                  <a:lnTo>
                    <a:pt x="470" y="1422"/>
                  </a:lnTo>
                  <a:lnTo>
                    <a:pt x="449" y="1435"/>
                  </a:lnTo>
                  <a:lnTo>
                    <a:pt x="429" y="1445"/>
                  </a:lnTo>
                  <a:lnTo>
                    <a:pt x="406" y="1453"/>
                  </a:lnTo>
                  <a:lnTo>
                    <a:pt x="382" y="1459"/>
                  </a:lnTo>
                  <a:lnTo>
                    <a:pt x="357" y="1462"/>
                  </a:lnTo>
                  <a:lnTo>
                    <a:pt x="332" y="1464"/>
                  </a:lnTo>
                  <a:lnTo>
                    <a:pt x="332" y="1464"/>
                  </a:lnTo>
                  <a:lnTo>
                    <a:pt x="304" y="1464"/>
                  </a:lnTo>
                  <a:lnTo>
                    <a:pt x="280" y="1462"/>
                  </a:lnTo>
                  <a:lnTo>
                    <a:pt x="259" y="1460"/>
                  </a:lnTo>
                  <a:lnTo>
                    <a:pt x="242" y="1457"/>
                  </a:lnTo>
                  <a:lnTo>
                    <a:pt x="218" y="1452"/>
                  </a:lnTo>
                  <a:lnTo>
                    <a:pt x="208" y="1449"/>
                  </a:lnTo>
                  <a:lnTo>
                    <a:pt x="208" y="1449"/>
                  </a:lnTo>
                  <a:lnTo>
                    <a:pt x="208" y="1449"/>
                  </a:lnTo>
                  <a:lnTo>
                    <a:pt x="208" y="1449"/>
                  </a:lnTo>
                  <a:lnTo>
                    <a:pt x="186" y="1442"/>
                  </a:lnTo>
                  <a:lnTo>
                    <a:pt x="165" y="1436"/>
                  </a:lnTo>
                  <a:lnTo>
                    <a:pt x="145" y="1434"/>
                  </a:lnTo>
                  <a:lnTo>
                    <a:pt x="128" y="1433"/>
                  </a:lnTo>
                  <a:lnTo>
                    <a:pt x="128" y="1433"/>
                  </a:lnTo>
                  <a:lnTo>
                    <a:pt x="111" y="1433"/>
                  </a:lnTo>
                  <a:lnTo>
                    <a:pt x="94" y="1434"/>
                  </a:lnTo>
                  <a:lnTo>
                    <a:pt x="79" y="1436"/>
                  </a:lnTo>
                  <a:lnTo>
                    <a:pt x="65" y="1441"/>
                  </a:lnTo>
                  <a:lnTo>
                    <a:pt x="65" y="1441"/>
                  </a:lnTo>
                  <a:lnTo>
                    <a:pt x="57" y="1444"/>
                  </a:lnTo>
                  <a:lnTo>
                    <a:pt x="49" y="1447"/>
                  </a:lnTo>
                  <a:lnTo>
                    <a:pt x="42" y="1452"/>
                  </a:lnTo>
                  <a:lnTo>
                    <a:pt x="35" y="1457"/>
                  </a:lnTo>
                  <a:lnTo>
                    <a:pt x="29" y="1462"/>
                  </a:lnTo>
                  <a:lnTo>
                    <a:pt x="23" y="1468"/>
                  </a:lnTo>
                  <a:lnTo>
                    <a:pt x="19" y="1475"/>
                  </a:lnTo>
                  <a:lnTo>
                    <a:pt x="14" y="1482"/>
                  </a:lnTo>
                  <a:lnTo>
                    <a:pt x="10" y="1490"/>
                  </a:lnTo>
                  <a:lnTo>
                    <a:pt x="7" y="1498"/>
                  </a:lnTo>
                  <a:lnTo>
                    <a:pt x="4" y="1506"/>
                  </a:lnTo>
                  <a:lnTo>
                    <a:pt x="3" y="1515"/>
                  </a:lnTo>
                  <a:lnTo>
                    <a:pt x="2" y="1525"/>
                  </a:lnTo>
                  <a:lnTo>
                    <a:pt x="0" y="1534"/>
                  </a:lnTo>
                  <a:lnTo>
                    <a:pt x="2" y="1544"/>
                  </a:lnTo>
                  <a:lnTo>
                    <a:pt x="3" y="1556"/>
                  </a:lnTo>
                  <a:lnTo>
                    <a:pt x="3" y="1556"/>
                  </a:lnTo>
                  <a:lnTo>
                    <a:pt x="7" y="1594"/>
                  </a:lnTo>
                  <a:lnTo>
                    <a:pt x="13" y="1633"/>
                  </a:lnTo>
                  <a:lnTo>
                    <a:pt x="20" y="1673"/>
                  </a:lnTo>
                  <a:lnTo>
                    <a:pt x="28" y="1716"/>
                  </a:lnTo>
                  <a:lnTo>
                    <a:pt x="40" y="1764"/>
                  </a:lnTo>
                  <a:lnTo>
                    <a:pt x="56" y="1818"/>
                  </a:lnTo>
                  <a:lnTo>
                    <a:pt x="75" y="1881"/>
                  </a:lnTo>
                  <a:lnTo>
                    <a:pt x="101" y="1953"/>
                  </a:lnTo>
                  <a:lnTo>
                    <a:pt x="454" y="1880"/>
                  </a:lnTo>
                  <a:lnTo>
                    <a:pt x="454" y="1880"/>
                  </a:lnTo>
                  <a:lnTo>
                    <a:pt x="470" y="1877"/>
                  </a:lnTo>
                  <a:lnTo>
                    <a:pt x="486" y="1875"/>
                  </a:lnTo>
                  <a:lnTo>
                    <a:pt x="501" y="1875"/>
                  </a:lnTo>
                  <a:lnTo>
                    <a:pt x="515" y="1875"/>
                  </a:lnTo>
                  <a:lnTo>
                    <a:pt x="529" y="1876"/>
                  </a:lnTo>
                  <a:lnTo>
                    <a:pt x="542" y="1878"/>
                  </a:lnTo>
                  <a:lnTo>
                    <a:pt x="553" y="1882"/>
                  </a:lnTo>
                  <a:lnTo>
                    <a:pt x="565" y="1886"/>
                  </a:lnTo>
                  <a:lnTo>
                    <a:pt x="575" y="1892"/>
                  </a:lnTo>
                  <a:lnTo>
                    <a:pt x="584" y="1898"/>
                  </a:lnTo>
                  <a:lnTo>
                    <a:pt x="592" y="1906"/>
                  </a:lnTo>
                  <a:lnTo>
                    <a:pt x="599" y="1913"/>
                  </a:lnTo>
                  <a:lnTo>
                    <a:pt x="606" y="1922"/>
                  </a:lnTo>
                  <a:lnTo>
                    <a:pt x="611" y="1931"/>
                  </a:lnTo>
                  <a:lnTo>
                    <a:pt x="615" y="1942"/>
                  </a:lnTo>
                  <a:lnTo>
                    <a:pt x="619" y="1953"/>
                  </a:lnTo>
                  <a:lnTo>
                    <a:pt x="619" y="1953"/>
                  </a:lnTo>
                  <a:lnTo>
                    <a:pt x="621" y="1965"/>
                  </a:lnTo>
                  <a:lnTo>
                    <a:pt x="622" y="1976"/>
                  </a:lnTo>
                  <a:lnTo>
                    <a:pt x="622" y="1989"/>
                  </a:lnTo>
                  <a:lnTo>
                    <a:pt x="621" y="2002"/>
                  </a:lnTo>
                  <a:lnTo>
                    <a:pt x="619" y="2016"/>
                  </a:lnTo>
                  <a:lnTo>
                    <a:pt x="615" y="2029"/>
                  </a:lnTo>
                  <a:lnTo>
                    <a:pt x="612" y="2044"/>
                  </a:lnTo>
                  <a:lnTo>
                    <a:pt x="606" y="2059"/>
                  </a:lnTo>
                  <a:lnTo>
                    <a:pt x="606" y="2059"/>
                  </a:lnTo>
                  <a:lnTo>
                    <a:pt x="604" y="2066"/>
                  </a:lnTo>
                  <a:lnTo>
                    <a:pt x="598" y="2089"/>
                  </a:lnTo>
                  <a:lnTo>
                    <a:pt x="596" y="2108"/>
                  </a:lnTo>
                  <a:lnTo>
                    <a:pt x="593" y="2128"/>
                  </a:lnTo>
                  <a:lnTo>
                    <a:pt x="591" y="2154"/>
                  </a:lnTo>
                  <a:lnTo>
                    <a:pt x="591" y="2184"/>
                  </a:lnTo>
                  <a:lnTo>
                    <a:pt x="591" y="2184"/>
                  </a:lnTo>
                  <a:lnTo>
                    <a:pt x="592" y="2209"/>
                  </a:lnTo>
                  <a:lnTo>
                    <a:pt x="596" y="2233"/>
                  </a:lnTo>
                  <a:lnTo>
                    <a:pt x="601" y="2257"/>
                  </a:lnTo>
                  <a:lnTo>
                    <a:pt x="611" y="2281"/>
                  </a:lnTo>
                  <a:lnTo>
                    <a:pt x="621" y="2302"/>
                  </a:lnTo>
                  <a:lnTo>
                    <a:pt x="634" y="2323"/>
                  </a:lnTo>
                  <a:lnTo>
                    <a:pt x="648" y="2342"/>
                  </a:lnTo>
                  <a:lnTo>
                    <a:pt x="664" y="2360"/>
                  </a:lnTo>
                  <a:lnTo>
                    <a:pt x="681" y="2376"/>
                  </a:lnTo>
                  <a:lnTo>
                    <a:pt x="701" y="2390"/>
                  </a:lnTo>
                  <a:lnTo>
                    <a:pt x="721" y="2403"/>
                  </a:lnTo>
                  <a:lnTo>
                    <a:pt x="743" y="2413"/>
                  </a:lnTo>
                  <a:lnTo>
                    <a:pt x="766" y="2421"/>
                  </a:lnTo>
                  <a:lnTo>
                    <a:pt x="789" y="2428"/>
                  </a:lnTo>
                  <a:lnTo>
                    <a:pt x="815" y="2431"/>
                  </a:lnTo>
                  <a:lnTo>
                    <a:pt x="840" y="2433"/>
                  </a:lnTo>
                  <a:lnTo>
                    <a:pt x="840" y="2433"/>
                  </a:lnTo>
                  <a:lnTo>
                    <a:pt x="843" y="2433"/>
                  </a:lnTo>
                  <a:lnTo>
                    <a:pt x="843" y="2433"/>
                  </a:lnTo>
                  <a:lnTo>
                    <a:pt x="848" y="2433"/>
                  </a:lnTo>
                  <a:lnTo>
                    <a:pt x="848" y="2433"/>
                  </a:lnTo>
                  <a:lnTo>
                    <a:pt x="873" y="2431"/>
                  </a:lnTo>
                  <a:lnTo>
                    <a:pt x="897" y="2428"/>
                  </a:lnTo>
                  <a:lnTo>
                    <a:pt x="922" y="2421"/>
                  </a:lnTo>
                  <a:lnTo>
                    <a:pt x="945" y="2413"/>
                  </a:lnTo>
                  <a:lnTo>
                    <a:pt x="967" y="2403"/>
                  </a:lnTo>
                  <a:lnTo>
                    <a:pt x="987" y="2390"/>
                  </a:lnTo>
                  <a:lnTo>
                    <a:pt x="1006" y="2376"/>
                  </a:lnTo>
                  <a:lnTo>
                    <a:pt x="1024" y="2360"/>
                  </a:lnTo>
                  <a:lnTo>
                    <a:pt x="1040" y="2342"/>
                  </a:lnTo>
                  <a:lnTo>
                    <a:pt x="1054" y="2323"/>
                  </a:lnTo>
                  <a:lnTo>
                    <a:pt x="1067" y="2302"/>
                  </a:lnTo>
                  <a:lnTo>
                    <a:pt x="1077" y="2281"/>
                  </a:lnTo>
                  <a:lnTo>
                    <a:pt x="1086" y="2257"/>
                  </a:lnTo>
                  <a:lnTo>
                    <a:pt x="1092" y="2233"/>
                  </a:lnTo>
                  <a:lnTo>
                    <a:pt x="1096" y="2209"/>
                  </a:lnTo>
                  <a:lnTo>
                    <a:pt x="1097" y="2184"/>
                  </a:lnTo>
                  <a:lnTo>
                    <a:pt x="1097" y="2184"/>
                  </a:lnTo>
                  <a:lnTo>
                    <a:pt x="1097" y="2154"/>
                  </a:lnTo>
                  <a:lnTo>
                    <a:pt x="1094" y="2128"/>
                  </a:lnTo>
                  <a:lnTo>
                    <a:pt x="1092" y="2108"/>
                  </a:lnTo>
                  <a:lnTo>
                    <a:pt x="1089" y="2090"/>
                  </a:lnTo>
                  <a:lnTo>
                    <a:pt x="1084" y="2066"/>
                  </a:lnTo>
                  <a:lnTo>
                    <a:pt x="1082" y="2059"/>
                  </a:lnTo>
                  <a:lnTo>
                    <a:pt x="1082" y="2059"/>
                  </a:lnTo>
                  <a:lnTo>
                    <a:pt x="1076" y="2044"/>
                  </a:lnTo>
                  <a:lnTo>
                    <a:pt x="1071" y="2031"/>
                  </a:lnTo>
                  <a:lnTo>
                    <a:pt x="1068" y="2017"/>
                  </a:lnTo>
                  <a:lnTo>
                    <a:pt x="1066" y="2003"/>
                  </a:lnTo>
                  <a:lnTo>
                    <a:pt x="1063" y="1990"/>
                  </a:lnTo>
                  <a:lnTo>
                    <a:pt x="1062" y="1978"/>
                  </a:lnTo>
                  <a:lnTo>
                    <a:pt x="1062" y="1965"/>
                  </a:lnTo>
                  <a:lnTo>
                    <a:pt x="1062" y="1953"/>
                  </a:lnTo>
                  <a:lnTo>
                    <a:pt x="1062" y="1953"/>
                  </a:lnTo>
                  <a:lnTo>
                    <a:pt x="1062" y="1953"/>
                  </a:lnTo>
                  <a:lnTo>
                    <a:pt x="1063" y="1946"/>
                  </a:lnTo>
                  <a:lnTo>
                    <a:pt x="1063" y="1946"/>
                  </a:lnTo>
                  <a:lnTo>
                    <a:pt x="1067" y="1936"/>
                  </a:lnTo>
                  <a:lnTo>
                    <a:pt x="1071" y="1927"/>
                  </a:lnTo>
                  <a:lnTo>
                    <a:pt x="1077" y="1918"/>
                  </a:lnTo>
                  <a:lnTo>
                    <a:pt x="1084" y="1910"/>
                  </a:lnTo>
                  <a:lnTo>
                    <a:pt x="1091" y="1903"/>
                  </a:lnTo>
                  <a:lnTo>
                    <a:pt x="1100" y="1896"/>
                  </a:lnTo>
                  <a:lnTo>
                    <a:pt x="1109" y="1890"/>
                  </a:lnTo>
                  <a:lnTo>
                    <a:pt x="1119" y="1885"/>
                  </a:lnTo>
                  <a:lnTo>
                    <a:pt x="1129" y="1881"/>
                  </a:lnTo>
                  <a:lnTo>
                    <a:pt x="1142" y="1878"/>
                  </a:lnTo>
                  <a:lnTo>
                    <a:pt x="1153" y="1876"/>
                  </a:lnTo>
                  <a:lnTo>
                    <a:pt x="1167" y="1875"/>
                  </a:lnTo>
                  <a:lnTo>
                    <a:pt x="1180" y="1875"/>
                  </a:lnTo>
                  <a:lnTo>
                    <a:pt x="1195" y="1875"/>
                  </a:lnTo>
                  <a:lnTo>
                    <a:pt x="1210" y="1877"/>
                  </a:lnTo>
                  <a:lnTo>
                    <a:pt x="1226" y="1880"/>
                  </a:lnTo>
                  <a:lnTo>
                    <a:pt x="1578" y="1953"/>
                  </a:lnTo>
                  <a:lnTo>
                    <a:pt x="1578" y="1953"/>
                  </a:lnTo>
                  <a:lnTo>
                    <a:pt x="1578" y="1953"/>
                  </a:lnTo>
                  <a:lnTo>
                    <a:pt x="1579" y="1953"/>
                  </a:lnTo>
                  <a:lnTo>
                    <a:pt x="1579" y="1953"/>
                  </a:lnTo>
                  <a:lnTo>
                    <a:pt x="1605" y="1881"/>
                  </a:lnTo>
                  <a:lnTo>
                    <a:pt x="1624" y="1818"/>
                  </a:lnTo>
                  <a:lnTo>
                    <a:pt x="1639" y="1764"/>
                  </a:lnTo>
                  <a:lnTo>
                    <a:pt x="1652" y="1716"/>
                  </a:lnTo>
                  <a:lnTo>
                    <a:pt x="1660" y="1673"/>
                  </a:lnTo>
                  <a:lnTo>
                    <a:pt x="1667" y="1633"/>
                  </a:lnTo>
                  <a:lnTo>
                    <a:pt x="1672" y="1594"/>
                  </a:lnTo>
                  <a:lnTo>
                    <a:pt x="1677" y="1556"/>
                  </a:lnTo>
                  <a:lnTo>
                    <a:pt x="1677" y="1556"/>
                  </a:lnTo>
                  <a:lnTo>
                    <a:pt x="1679" y="1541"/>
                  </a:lnTo>
                  <a:lnTo>
                    <a:pt x="1678" y="1527"/>
                  </a:lnTo>
                  <a:lnTo>
                    <a:pt x="1677" y="1513"/>
                  </a:lnTo>
                  <a:lnTo>
                    <a:pt x="1674" y="1500"/>
                  </a:lnTo>
                  <a:lnTo>
                    <a:pt x="1670" y="1490"/>
                  </a:lnTo>
                  <a:lnTo>
                    <a:pt x="1664" y="1480"/>
                  </a:lnTo>
                  <a:lnTo>
                    <a:pt x="1658" y="1469"/>
                  </a:lnTo>
                  <a:lnTo>
                    <a:pt x="1649" y="1461"/>
                  </a:lnTo>
                  <a:lnTo>
                    <a:pt x="1641" y="1454"/>
                  </a:lnTo>
                  <a:lnTo>
                    <a:pt x="1631" y="1447"/>
                  </a:lnTo>
                  <a:lnTo>
                    <a:pt x="1620" y="1443"/>
                  </a:lnTo>
                  <a:lnTo>
                    <a:pt x="1608" y="1438"/>
                  </a:lnTo>
                  <a:lnTo>
                    <a:pt x="1595" y="1435"/>
                  </a:lnTo>
                  <a:lnTo>
                    <a:pt x="1582" y="1434"/>
                  </a:lnTo>
                  <a:lnTo>
                    <a:pt x="1568" y="1433"/>
                  </a:lnTo>
                  <a:lnTo>
                    <a:pt x="1553" y="1433"/>
                  </a:lnTo>
                  <a:lnTo>
                    <a:pt x="1553" y="1433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1F798C8-A3EF-A00D-89D2-C41F2610BE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41" y="1615"/>
              <a:ext cx="1027" cy="1029"/>
            </a:xfrm>
            <a:custGeom>
              <a:avLst/>
              <a:gdLst>
                <a:gd name="T0" fmla="*/ 30 w 2053"/>
                <a:gd name="T1" fmla="*/ 721 h 2058"/>
                <a:gd name="T2" fmla="*/ 152 w 2053"/>
                <a:gd name="T3" fmla="*/ 609 h 2058"/>
                <a:gd name="T4" fmla="*/ 303 w 2053"/>
                <a:gd name="T5" fmla="*/ 593 h 2058"/>
                <a:gd name="T6" fmla="*/ 418 w 2053"/>
                <a:gd name="T7" fmla="*/ 619 h 2058"/>
                <a:gd name="T8" fmla="*/ 521 w 2053"/>
                <a:gd name="T9" fmla="*/ 598 h 2058"/>
                <a:gd name="T10" fmla="*/ 557 w 2053"/>
                <a:gd name="T11" fmla="*/ 500 h 2058"/>
                <a:gd name="T12" fmla="*/ 878 w 2053"/>
                <a:gd name="T13" fmla="*/ 22 h 2058"/>
                <a:gd name="T14" fmla="*/ 975 w 2053"/>
                <a:gd name="T15" fmla="*/ 60 h 2058"/>
                <a:gd name="T16" fmla="*/ 996 w 2053"/>
                <a:gd name="T17" fmla="*/ 161 h 2058"/>
                <a:gd name="T18" fmla="*/ 970 w 2053"/>
                <a:gd name="T19" fmla="*/ 276 h 2058"/>
                <a:gd name="T20" fmla="*/ 987 w 2053"/>
                <a:gd name="T21" fmla="*/ 428 h 2058"/>
                <a:gd name="T22" fmla="*/ 1099 w 2053"/>
                <a:gd name="T23" fmla="*/ 551 h 2058"/>
                <a:gd name="T24" fmla="*/ 1243 w 2053"/>
                <a:gd name="T25" fmla="*/ 579 h 2058"/>
                <a:gd name="T26" fmla="*/ 1394 w 2053"/>
                <a:gd name="T27" fmla="*/ 508 h 2058"/>
                <a:gd name="T28" fmla="*/ 1465 w 2053"/>
                <a:gd name="T29" fmla="*/ 357 h 2058"/>
                <a:gd name="T30" fmla="*/ 1453 w 2053"/>
                <a:gd name="T31" fmla="*/ 214 h 2058"/>
                <a:gd name="T32" fmla="*/ 1432 w 2053"/>
                <a:gd name="T33" fmla="*/ 100 h 2058"/>
                <a:gd name="T34" fmla="*/ 1487 w 2053"/>
                <a:gd name="T35" fmla="*/ 10 h 2058"/>
                <a:gd name="T36" fmla="*/ 1632 w 2053"/>
                <a:gd name="T37" fmla="*/ 12 h 2058"/>
                <a:gd name="T38" fmla="*/ 1952 w 2053"/>
                <a:gd name="T39" fmla="*/ 101 h 2058"/>
                <a:gd name="T40" fmla="*/ 2021 w 2053"/>
                <a:gd name="T41" fmla="*/ 557 h 2058"/>
                <a:gd name="T42" fmla="*/ 1966 w 2053"/>
                <a:gd name="T43" fmla="*/ 614 h 2058"/>
                <a:gd name="T44" fmla="*/ 1847 w 2053"/>
                <a:gd name="T45" fmla="*/ 606 h 2058"/>
                <a:gd name="T46" fmla="*/ 1723 w 2053"/>
                <a:gd name="T47" fmla="*/ 590 h 2058"/>
                <a:gd name="T48" fmla="*/ 1564 w 2053"/>
                <a:gd name="T49" fmla="*/ 647 h 2058"/>
                <a:gd name="T50" fmla="*/ 1478 w 2053"/>
                <a:gd name="T51" fmla="*/ 789 h 2058"/>
                <a:gd name="T52" fmla="*/ 1493 w 2053"/>
                <a:gd name="T53" fmla="*/ 937 h 2058"/>
                <a:gd name="T54" fmla="*/ 1603 w 2053"/>
                <a:gd name="T55" fmla="*/ 1059 h 2058"/>
                <a:gd name="T56" fmla="*/ 1752 w 2053"/>
                <a:gd name="T57" fmla="*/ 1089 h 2058"/>
                <a:gd name="T58" fmla="*/ 1870 w 2053"/>
                <a:gd name="T59" fmla="*/ 1066 h 2058"/>
                <a:gd name="T60" fmla="*/ 2002 w 2053"/>
                <a:gd name="T61" fmla="*/ 1068 h 2058"/>
                <a:gd name="T62" fmla="*/ 2053 w 2053"/>
                <a:gd name="T63" fmla="*/ 1158 h 2058"/>
                <a:gd name="T64" fmla="*/ 2013 w 2053"/>
                <a:gd name="T65" fmla="*/ 1387 h 2058"/>
                <a:gd name="T66" fmla="*/ 1584 w 2053"/>
                <a:gd name="T67" fmla="*/ 1502 h 2058"/>
                <a:gd name="T68" fmla="*/ 1489 w 2053"/>
                <a:gd name="T69" fmla="*/ 1511 h 2058"/>
                <a:gd name="T70" fmla="*/ 1438 w 2053"/>
                <a:gd name="T71" fmla="*/ 1567 h 2058"/>
                <a:gd name="T72" fmla="*/ 1433 w 2053"/>
                <a:gd name="T73" fmla="*/ 1627 h 2058"/>
                <a:gd name="T74" fmla="*/ 1456 w 2053"/>
                <a:gd name="T75" fmla="*/ 1715 h 2058"/>
                <a:gd name="T76" fmla="*/ 1458 w 2053"/>
                <a:gd name="T77" fmla="*/ 1858 h 2058"/>
                <a:gd name="T78" fmla="*/ 1373 w 2053"/>
                <a:gd name="T79" fmla="*/ 2001 h 2058"/>
                <a:gd name="T80" fmla="*/ 1214 w 2053"/>
                <a:gd name="T81" fmla="*/ 2058 h 2058"/>
                <a:gd name="T82" fmla="*/ 1075 w 2053"/>
                <a:gd name="T83" fmla="*/ 2015 h 2058"/>
                <a:gd name="T84" fmla="*/ 975 w 2053"/>
                <a:gd name="T85" fmla="*/ 1882 h 2058"/>
                <a:gd name="T86" fmla="*/ 970 w 2053"/>
                <a:gd name="T87" fmla="*/ 1733 h 2058"/>
                <a:gd name="T88" fmla="*/ 994 w 2053"/>
                <a:gd name="T89" fmla="*/ 1642 h 2058"/>
                <a:gd name="T90" fmla="*/ 999 w 2053"/>
                <a:gd name="T91" fmla="*/ 1578 h 2058"/>
                <a:gd name="T92" fmla="*/ 971 w 2053"/>
                <a:gd name="T93" fmla="*/ 1507 h 2058"/>
                <a:gd name="T94" fmla="*/ 903 w 2053"/>
                <a:gd name="T95" fmla="*/ 1478 h 2058"/>
                <a:gd name="T96" fmla="*/ 721 w 2053"/>
                <a:gd name="T97" fmla="*/ 1506 h 2058"/>
                <a:gd name="T98" fmla="*/ 504 w 2053"/>
                <a:gd name="T99" fmla="*/ 1506 h 2058"/>
                <a:gd name="T100" fmla="*/ 578 w 2053"/>
                <a:gd name="T101" fmla="*/ 1177 h 2058"/>
                <a:gd name="T102" fmla="*/ 553 w 2053"/>
                <a:gd name="T103" fmla="*/ 1085 h 2058"/>
                <a:gd name="T104" fmla="*/ 440 w 2053"/>
                <a:gd name="T105" fmla="*/ 1056 h 2058"/>
                <a:gd name="T106" fmla="*/ 325 w 2053"/>
                <a:gd name="T107" fmla="*/ 1084 h 2058"/>
                <a:gd name="T108" fmla="*/ 175 w 2053"/>
                <a:gd name="T109" fmla="*/ 1078 h 2058"/>
                <a:gd name="T110" fmla="*/ 43 w 2053"/>
                <a:gd name="T111" fmla="*/ 979 h 2058"/>
                <a:gd name="T112" fmla="*/ 0 w 2053"/>
                <a:gd name="T113" fmla="*/ 840 h 2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53" h="2058">
                  <a:moveTo>
                    <a:pt x="0" y="840"/>
                  </a:moveTo>
                  <a:lnTo>
                    <a:pt x="0" y="840"/>
                  </a:lnTo>
                  <a:lnTo>
                    <a:pt x="1" y="814"/>
                  </a:lnTo>
                  <a:lnTo>
                    <a:pt x="5" y="789"/>
                  </a:lnTo>
                  <a:lnTo>
                    <a:pt x="10" y="766"/>
                  </a:lnTo>
                  <a:lnTo>
                    <a:pt x="20" y="743"/>
                  </a:lnTo>
                  <a:lnTo>
                    <a:pt x="30" y="721"/>
                  </a:lnTo>
                  <a:lnTo>
                    <a:pt x="43" y="700"/>
                  </a:lnTo>
                  <a:lnTo>
                    <a:pt x="57" y="681"/>
                  </a:lnTo>
                  <a:lnTo>
                    <a:pt x="73" y="663"/>
                  </a:lnTo>
                  <a:lnTo>
                    <a:pt x="90" y="647"/>
                  </a:lnTo>
                  <a:lnTo>
                    <a:pt x="109" y="632"/>
                  </a:lnTo>
                  <a:lnTo>
                    <a:pt x="130" y="621"/>
                  </a:lnTo>
                  <a:lnTo>
                    <a:pt x="152" y="609"/>
                  </a:lnTo>
                  <a:lnTo>
                    <a:pt x="175" y="601"/>
                  </a:lnTo>
                  <a:lnTo>
                    <a:pt x="198" y="595"/>
                  </a:lnTo>
                  <a:lnTo>
                    <a:pt x="223" y="591"/>
                  </a:lnTo>
                  <a:lnTo>
                    <a:pt x="249" y="590"/>
                  </a:lnTo>
                  <a:lnTo>
                    <a:pt x="249" y="590"/>
                  </a:lnTo>
                  <a:lnTo>
                    <a:pt x="279" y="591"/>
                  </a:lnTo>
                  <a:lnTo>
                    <a:pt x="303" y="593"/>
                  </a:lnTo>
                  <a:lnTo>
                    <a:pt x="325" y="595"/>
                  </a:lnTo>
                  <a:lnTo>
                    <a:pt x="342" y="598"/>
                  </a:lnTo>
                  <a:lnTo>
                    <a:pt x="365" y="604"/>
                  </a:lnTo>
                  <a:lnTo>
                    <a:pt x="373" y="606"/>
                  </a:lnTo>
                  <a:lnTo>
                    <a:pt x="373" y="606"/>
                  </a:lnTo>
                  <a:lnTo>
                    <a:pt x="396" y="614"/>
                  </a:lnTo>
                  <a:lnTo>
                    <a:pt x="418" y="619"/>
                  </a:lnTo>
                  <a:lnTo>
                    <a:pt x="439" y="621"/>
                  </a:lnTo>
                  <a:lnTo>
                    <a:pt x="458" y="621"/>
                  </a:lnTo>
                  <a:lnTo>
                    <a:pt x="476" y="619"/>
                  </a:lnTo>
                  <a:lnTo>
                    <a:pt x="493" y="614"/>
                  </a:lnTo>
                  <a:lnTo>
                    <a:pt x="507" y="607"/>
                  </a:lnTo>
                  <a:lnTo>
                    <a:pt x="514" y="602"/>
                  </a:lnTo>
                  <a:lnTo>
                    <a:pt x="521" y="598"/>
                  </a:lnTo>
                  <a:lnTo>
                    <a:pt x="526" y="592"/>
                  </a:lnTo>
                  <a:lnTo>
                    <a:pt x="531" y="586"/>
                  </a:lnTo>
                  <a:lnTo>
                    <a:pt x="541" y="572"/>
                  </a:lnTo>
                  <a:lnTo>
                    <a:pt x="548" y="557"/>
                  </a:lnTo>
                  <a:lnTo>
                    <a:pt x="554" y="540"/>
                  </a:lnTo>
                  <a:lnTo>
                    <a:pt x="556" y="521"/>
                  </a:lnTo>
                  <a:lnTo>
                    <a:pt x="557" y="500"/>
                  </a:lnTo>
                  <a:lnTo>
                    <a:pt x="556" y="478"/>
                  </a:lnTo>
                  <a:lnTo>
                    <a:pt x="552" y="454"/>
                  </a:lnTo>
                  <a:lnTo>
                    <a:pt x="479" y="101"/>
                  </a:lnTo>
                  <a:lnTo>
                    <a:pt x="832" y="27"/>
                  </a:lnTo>
                  <a:lnTo>
                    <a:pt x="832" y="27"/>
                  </a:lnTo>
                  <a:lnTo>
                    <a:pt x="856" y="24"/>
                  </a:lnTo>
                  <a:lnTo>
                    <a:pt x="878" y="22"/>
                  </a:lnTo>
                  <a:lnTo>
                    <a:pt x="898" y="23"/>
                  </a:lnTo>
                  <a:lnTo>
                    <a:pt x="918" y="26"/>
                  </a:lnTo>
                  <a:lnTo>
                    <a:pt x="935" y="31"/>
                  </a:lnTo>
                  <a:lnTo>
                    <a:pt x="950" y="39"/>
                  </a:lnTo>
                  <a:lnTo>
                    <a:pt x="964" y="48"/>
                  </a:lnTo>
                  <a:lnTo>
                    <a:pt x="970" y="54"/>
                  </a:lnTo>
                  <a:lnTo>
                    <a:pt x="975" y="60"/>
                  </a:lnTo>
                  <a:lnTo>
                    <a:pt x="980" y="65"/>
                  </a:lnTo>
                  <a:lnTo>
                    <a:pt x="985" y="72"/>
                  </a:lnTo>
                  <a:lnTo>
                    <a:pt x="992" y="87"/>
                  </a:lnTo>
                  <a:lnTo>
                    <a:pt x="996" y="103"/>
                  </a:lnTo>
                  <a:lnTo>
                    <a:pt x="999" y="122"/>
                  </a:lnTo>
                  <a:lnTo>
                    <a:pt x="999" y="140"/>
                  </a:lnTo>
                  <a:lnTo>
                    <a:pt x="996" y="161"/>
                  </a:lnTo>
                  <a:lnTo>
                    <a:pt x="992" y="183"/>
                  </a:lnTo>
                  <a:lnTo>
                    <a:pt x="984" y="206"/>
                  </a:lnTo>
                  <a:lnTo>
                    <a:pt x="984" y="206"/>
                  </a:lnTo>
                  <a:lnTo>
                    <a:pt x="981" y="214"/>
                  </a:lnTo>
                  <a:lnTo>
                    <a:pt x="975" y="237"/>
                  </a:lnTo>
                  <a:lnTo>
                    <a:pt x="973" y="254"/>
                  </a:lnTo>
                  <a:lnTo>
                    <a:pt x="970" y="276"/>
                  </a:lnTo>
                  <a:lnTo>
                    <a:pt x="969" y="302"/>
                  </a:lnTo>
                  <a:lnTo>
                    <a:pt x="967" y="330"/>
                  </a:lnTo>
                  <a:lnTo>
                    <a:pt x="967" y="330"/>
                  </a:lnTo>
                  <a:lnTo>
                    <a:pt x="969" y="357"/>
                  </a:lnTo>
                  <a:lnTo>
                    <a:pt x="973" y="381"/>
                  </a:lnTo>
                  <a:lnTo>
                    <a:pt x="979" y="405"/>
                  </a:lnTo>
                  <a:lnTo>
                    <a:pt x="987" y="428"/>
                  </a:lnTo>
                  <a:lnTo>
                    <a:pt x="997" y="450"/>
                  </a:lnTo>
                  <a:lnTo>
                    <a:pt x="1010" y="470"/>
                  </a:lnTo>
                  <a:lnTo>
                    <a:pt x="1025" y="489"/>
                  </a:lnTo>
                  <a:lnTo>
                    <a:pt x="1041" y="508"/>
                  </a:lnTo>
                  <a:lnTo>
                    <a:pt x="1058" y="523"/>
                  </a:lnTo>
                  <a:lnTo>
                    <a:pt x="1078" y="538"/>
                  </a:lnTo>
                  <a:lnTo>
                    <a:pt x="1099" y="551"/>
                  </a:lnTo>
                  <a:lnTo>
                    <a:pt x="1121" y="561"/>
                  </a:lnTo>
                  <a:lnTo>
                    <a:pt x="1142" y="569"/>
                  </a:lnTo>
                  <a:lnTo>
                    <a:pt x="1167" y="576"/>
                  </a:lnTo>
                  <a:lnTo>
                    <a:pt x="1192" y="579"/>
                  </a:lnTo>
                  <a:lnTo>
                    <a:pt x="1217" y="580"/>
                  </a:lnTo>
                  <a:lnTo>
                    <a:pt x="1217" y="580"/>
                  </a:lnTo>
                  <a:lnTo>
                    <a:pt x="1243" y="579"/>
                  </a:lnTo>
                  <a:lnTo>
                    <a:pt x="1267" y="576"/>
                  </a:lnTo>
                  <a:lnTo>
                    <a:pt x="1291" y="569"/>
                  </a:lnTo>
                  <a:lnTo>
                    <a:pt x="1314" y="561"/>
                  </a:lnTo>
                  <a:lnTo>
                    <a:pt x="1336" y="551"/>
                  </a:lnTo>
                  <a:lnTo>
                    <a:pt x="1357" y="538"/>
                  </a:lnTo>
                  <a:lnTo>
                    <a:pt x="1375" y="523"/>
                  </a:lnTo>
                  <a:lnTo>
                    <a:pt x="1394" y="508"/>
                  </a:lnTo>
                  <a:lnTo>
                    <a:pt x="1410" y="489"/>
                  </a:lnTo>
                  <a:lnTo>
                    <a:pt x="1423" y="470"/>
                  </a:lnTo>
                  <a:lnTo>
                    <a:pt x="1436" y="450"/>
                  </a:lnTo>
                  <a:lnTo>
                    <a:pt x="1446" y="428"/>
                  </a:lnTo>
                  <a:lnTo>
                    <a:pt x="1456" y="405"/>
                  </a:lnTo>
                  <a:lnTo>
                    <a:pt x="1461" y="381"/>
                  </a:lnTo>
                  <a:lnTo>
                    <a:pt x="1465" y="357"/>
                  </a:lnTo>
                  <a:lnTo>
                    <a:pt x="1466" y="330"/>
                  </a:lnTo>
                  <a:lnTo>
                    <a:pt x="1466" y="330"/>
                  </a:lnTo>
                  <a:lnTo>
                    <a:pt x="1466" y="302"/>
                  </a:lnTo>
                  <a:lnTo>
                    <a:pt x="1464" y="276"/>
                  </a:lnTo>
                  <a:lnTo>
                    <a:pt x="1461" y="254"/>
                  </a:lnTo>
                  <a:lnTo>
                    <a:pt x="1458" y="237"/>
                  </a:lnTo>
                  <a:lnTo>
                    <a:pt x="1453" y="214"/>
                  </a:lnTo>
                  <a:lnTo>
                    <a:pt x="1451" y="206"/>
                  </a:lnTo>
                  <a:lnTo>
                    <a:pt x="1451" y="206"/>
                  </a:lnTo>
                  <a:lnTo>
                    <a:pt x="1443" y="183"/>
                  </a:lnTo>
                  <a:lnTo>
                    <a:pt x="1437" y="161"/>
                  </a:lnTo>
                  <a:lnTo>
                    <a:pt x="1433" y="139"/>
                  </a:lnTo>
                  <a:lnTo>
                    <a:pt x="1432" y="120"/>
                  </a:lnTo>
                  <a:lnTo>
                    <a:pt x="1432" y="100"/>
                  </a:lnTo>
                  <a:lnTo>
                    <a:pt x="1434" y="83"/>
                  </a:lnTo>
                  <a:lnTo>
                    <a:pt x="1438" y="67"/>
                  </a:lnTo>
                  <a:lnTo>
                    <a:pt x="1444" y="52"/>
                  </a:lnTo>
                  <a:lnTo>
                    <a:pt x="1452" y="39"/>
                  </a:lnTo>
                  <a:lnTo>
                    <a:pt x="1463" y="27"/>
                  </a:lnTo>
                  <a:lnTo>
                    <a:pt x="1474" y="18"/>
                  </a:lnTo>
                  <a:lnTo>
                    <a:pt x="1487" y="10"/>
                  </a:lnTo>
                  <a:lnTo>
                    <a:pt x="1502" y="4"/>
                  </a:lnTo>
                  <a:lnTo>
                    <a:pt x="1518" y="1"/>
                  </a:lnTo>
                  <a:lnTo>
                    <a:pt x="1535" y="0"/>
                  </a:lnTo>
                  <a:lnTo>
                    <a:pt x="1555" y="1"/>
                  </a:lnTo>
                  <a:lnTo>
                    <a:pt x="1555" y="1"/>
                  </a:lnTo>
                  <a:lnTo>
                    <a:pt x="1593" y="7"/>
                  </a:lnTo>
                  <a:lnTo>
                    <a:pt x="1632" y="12"/>
                  </a:lnTo>
                  <a:lnTo>
                    <a:pt x="1672" y="19"/>
                  </a:lnTo>
                  <a:lnTo>
                    <a:pt x="1715" y="29"/>
                  </a:lnTo>
                  <a:lnTo>
                    <a:pt x="1715" y="29"/>
                  </a:lnTo>
                  <a:lnTo>
                    <a:pt x="1763" y="40"/>
                  </a:lnTo>
                  <a:lnTo>
                    <a:pt x="1817" y="56"/>
                  </a:lnTo>
                  <a:lnTo>
                    <a:pt x="1879" y="76"/>
                  </a:lnTo>
                  <a:lnTo>
                    <a:pt x="1952" y="101"/>
                  </a:lnTo>
                  <a:lnTo>
                    <a:pt x="2026" y="454"/>
                  </a:lnTo>
                  <a:lnTo>
                    <a:pt x="2026" y="454"/>
                  </a:lnTo>
                  <a:lnTo>
                    <a:pt x="2029" y="478"/>
                  </a:lnTo>
                  <a:lnTo>
                    <a:pt x="2032" y="500"/>
                  </a:lnTo>
                  <a:lnTo>
                    <a:pt x="2030" y="521"/>
                  </a:lnTo>
                  <a:lnTo>
                    <a:pt x="2027" y="540"/>
                  </a:lnTo>
                  <a:lnTo>
                    <a:pt x="2021" y="557"/>
                  </a:lnTo>
                  <a:lnTo>
                    <a:pt x="2014" y="572"/>
                  </a:lnTo>
                  <a:lnTo>
                    <a:pt x="2005" y="586"/>
                  </a:lnTo>
                  <a:lnTo>
                    <a:pt x="1999" y="592"/>
                  </a:lnTo>
                  <a:lnTo>
                    <a:pt x="1994" y="598"/>
                  </a:lnTo>
                  <a:lnTo>
                    <a:pt x="1988" y="602"/>
                  </a:lnTo>
                  <a:lnTo>
                    <a:pt x="1981" y="607"/>
                  </a:lnTo>
                  <a:lnTo>
                    <a:pt x="1966" y="614"/>
                  </a:lnTo>
                  <a:lnTo>
                    <a:pt x="1950" y="619"/>
                  </a:lnTo>
                  <a:lnTo>
                    <a:pt x="1931" y="621"/>
                  </a:lnTo>
                  <a:lnTo>
                    <a:pt x="1913" y="621"/>
                  </a:lnTo>
                  <a:lnTo>
                    <a:pt x="1892" y="619"/>
                  </a:lnTo>
                  <a:lnTo>
                    <a:pt x="1870" y="614"/>
                  </a:lnTo>
                  <a:lnTo>
                    <a:pt x="1847" y="606"/>
                  </a:lnTo>
                  <a:lnTo>
                    <a:pt x="1847" y="606"/>
                  </a:lnTo>
                  <a:lnTo>
                    <a:pt x="1839" y="604"/>
                  </a:lnTo>
                  <a:lnTo>
                    <a:pt x="1816" y="598"/>
                  </a:lnTo>
                  <a:lnTo>
                    <a:pt x="1799" y="595"/>
                  </a:lnTo>
                  <a:lnTo>
                    <a:pt x="1777" y="593"/>
                  </a:lnTo>
                  <a:lnTo>
                    <a:pt x="1752" y="591"/>
                  </a:lnTo>
                  <a:lnTo>
                    <a:pt x="1723" y="590"/>
                  </a:lnTo>
                  <a:lnTo>
                    <a:pt x="1723" y="590"/>
                  </a:lnTo>
                  <a:lnTo>
                    <a:pt x="1696" y="591"/>
                  </a:lnTo>
                  <a:lnTo>
                    <a:pt x="1672" y="595"/>
                  </a:lnTo>
                  <a:lnTo>
                    <a:pt x="1648" y="601"/>
                  </a:lnTo>
                  <a:lnTo>
                    <a:pt x="1625" y="609"/>
                  </a:lnTo>
                  <a:lnTo>
                    <a:pt x="1603" y="620"/>
                  </a:lnTo>
                  <a:lnTo>
                    <a:pt x="1582" y="632"/>
                  </a:lnTo>
                  <a:lnTo>
                    <a:pt x="1564" y="647"/>
                  </a:lnTo>
                  <a:lnTo>
                    <a:pt x="1546" y="663"/>
                  </a:lnTo>
                  <a:lnTo>
                    <a:pt x="1529" y="681"/>
                  </a:lnTo>
                  <a:lnTo>
                    <a:pt x="1516" y="700"/>
                  </a:lnTo>
                  <a:lnTo>
                    <a:pt x="1503" y="721"/>
                  </a:lnTo>
                  <a:lnTo>
                    <a:pt x="1493" y="743"/>
                  </a:lnTo>
                  <a:lnTo>
                    <a:pt x="1484" y="765"/>
                  </a:lnTo>
                  <a:lnTo>
                    <a:pt x="1478" y="789"/>
                  </a:lnTo>
                  <a:lnTo>
                    <a:pt x="1474" y="814"/>
                  </a:lnTo>
                  <a:lnTo>
                    <a:pt x="1473" y="840"/>
                  </a:lnTo>
                  <a:lnTo>
                    <a:pt x="1473" y="840"/>
                  </a:lnTo>
                  <a:lnTo>
                    <a:pt x="1474" y="865"/>
                  </a:lnTo>
                  <a:lnTo>
                    <a:pt x="1478" y="890"/>
                  </a:lnTo>
                  <a:lnTo>
                    <a:pt x="1484" y="913"/>
                  </a:lnTo>
                  <a:lnTo>
                    <a:pt x="1493" y="937"/>
                  </a:lnTo>
                  <a:lnTo>
                    <a:pt x="1503" y="958"/>
                  </a:lnTo>
                  <a:lnTo>
                    <a:pt x="1516" y="979"/>
                  </a:lnTo>
                  <a:lnTo>
                    <a:pt x="1529" y="999"/>
                  </a:lnTo>
                  <a:lnTo>
                    <a:pt x="1546" y="1016"/>
                  </a:lnTo>
                  <a:lnTo>
                    <a:pt x="1564" y="1032"/>
                  </a:lnTo>
                  <a:lnTo>
                    <a:pt x="1582" y="1046"/>
                  </a:lnTo>
                  <a:lnTo>
                    <a:pt x="1603" y="1059"/>
                  </a:lnTo>
                  <a:lnTo>
                    <a:pt x="1625" y="1069"/>
                  </a:lnTo>
                  <a:lnTo>
                    <a:pt x="1648" y="1078"/>
                  </a:lnTo>
                  <a:lnTo>
                    <a:pt x="1672" y="1084"/>
                  </a:lnTo>
                  <a:lnTo>
                    <a:pt x="1696" y="1087"/>
                  </a:lnTo>
                  <a:lnTo>
                    <a:pt x="1723" y="1089"/>
                  </a:lnTo>
                  <a:lnTo>
                    <a:pt x="1723" y="1089"/>
                  </a:lnTo>
                  <a:lnTo>
                    <a:pt x="1752" y="1089"/>
                  </a:lnTo>
                  <a:lnTo>
                    <a:pt x="1777" y="1086"/>
                  </a:lnTo>
                  <a:lnTo>
                    <a:pt x="1799" y="1084"/>
                  </a:lnTo>
                  <a:lnTo>
                    <a:pt x="1816" y="1082"/>
                  </a:lnTo>
                  <a:lnTo>
                    <a:pt x="1839" y="1076"/>
                  </a:lnTo>
                  <a:lnTo>
                    <a:pt x="1847" y="1074"/>
                  </a:lnTo>
                  <a:lnTo>
                    <a:pt x="1847" y="1074"/>
                  </a:lnTo>
                  <a:lnTo>
                    <a:pt x="1870" y="1066"/>
                  </a:lnTo>
                  <a:lnTo>
                    <a:pt x="1892" y="1060"/>
                  </a:lnTo>
                  <a:lnTo>
                    <a:pt x="1914" y="1056"/>
                  </a:lnTo>
                  <a:lnTo>
                    <a:pt x="1934" y="1054"/>
                  </a:lnTo>
                  <a:lnTo>
                    <a:pt x="1953" y="1054"/>
                  </a:lnTo>
                  <a:lnTo>
                    <a:pt x="1970" y="1058"/>
                  </a:lnTo>
                  <a:lnTo>
                    <a:pt x="1987" y="1061"/>
                  </a:lnTo>
                  <a:lnTo>
                    <a:pt x="2002" y="1068"/>
                  </a:lnTo>
                  <a:lnTo>
                    <a:pt x="2014" y="1075"/>
                  </a:lnTo>
                  <a:lnTo>
                    <a:pt x="2026" y="1085"/>
                  </a:lnTo>
                  <a:lnTo>
                    <a:pt x="2035" y="1097"/>
                  </a:lnTo>
                  <a:lnTo>
                    <a:pt x="2043" y="1109"/>
                  </a:lnTo>
                  <a:lnTo>
                    <a:pt x="2049" y="1124"/>
                  </a:lnTo>
                  <a:lnTo>
                    <a:pt x="2052" y="1140"/>
                  </a:lnTo>
                  <a:lnTo>
                    <a:pt x="2053" y="1158"/>
                  </a:lnTo>
                  <a:lnTo>
                    <a:pt x="2051" y="1177"/>
                  </a:lnTo>
                  <a:lnTo>
                    <a:pt x="2051" y="1177"/>
                  </a:lnTo>
                  <a:lnTo>
                    <a:pt x="2046" y="1217"/>
                  </a:lnTo>
                  <a:lnTo>
                    <a:pt x="2041" y="1255"/>
                  </a:lnTo>
                  <a:lnTo>
                    <a:pt x="2034" y="1295"/>
                  </a:lnTo>
                  <a:lnTo>
                    <a:pt x="2026" y="1339"/>
                  </a:lnTo>
                  <a:lnTo>
                    <a:pt x="2013" y="1387"/>
                  </a:lnTo>
                  <a:lnTo>
                    <a:pt x="1998" y="1442"/>
                  </a:lnTo>
                  <a:lnTo>
                    <a:pt x="1977" y="1506"/>
                  </a:lnTo>
                  <a:lnTo>
                    <a:pt x="1952" y="1578"/>
                  </a:lnTo>
                  <a:lnTo>
                    <a:pt x="1951" y="1578"/>
                  </a:lnTo>
                  <a:lnTo>
                    <a:pt x="1600" y="1505"/>
                  </a:lnTo>
                  <a:lnTo>
                    <a:pt x="1600" y="1505"/>
                  </a:lnTo>
                  <a:lnTo>
                    <a:pt x="1584" y="1502"/>
                  </a:lnTo>
                  <a:lnTo>
                    <a:pt x="1567" y="1500"/>
                  </a:lnTo>
                  <a:lnTo>
                    <a:pt x="1552" y="1500"/>
                  </a:lnTo>
                  <a:lnTo>
                    <a:pt x="1539" y="1500"/>
                  </a:lnTo>
                  <a:lnTo>
                    <a:pt x="1525" y="1501"/>
                  </a:lnTo>
                  <a:lnTo>
                    <a:pt x="1512" y="1503"/>
                  </a:lnTo>
                  <a:lnTo>
                    <a:pt x="1501" y="1507"/>
                  </a:lnTo>
                  <a:lnTo>
                    <a:pt x="1489" y="1511"/>
                  </a:lnTo>
                  <a:lnTo>
                    <a:pt x="1479" y="1517"/>
                  </a:lnTo>
                  <a:lnTo>
                    <a:pt x="1471" y="1523"/>
                  </a:lnTo>
                  <a:lnTo>
                    <a:pt x="1461" y="1530"/>
                  </a:lnTo>
                  <a:lnTo>
                    <a:pt x="1455" y="1538"/>
                  </a:lnTo>
                  <a:lnTo>
                    <a:pt x="1448" y="1547"/>
                  </a:lnTo>
                  <a:lnTo>
                    <a:pt x="1443" y="1556"/>
                  </a:lnTo>
                  <a:lnTo>
                    <a:pt x="1438" y="1567"/>
                  </a:lnTo>
                  <a:lnTo>
                    <a:pt x="1435" y="1578"/>
                  </a:lnTo>
                  <a:lnTo>
                    <a:pt x="1435" y="1578"/>
                  </a:lnTo>
                  <a:lnTo>
                    <a:pt x="1435" y="1578"/>
                  </a:lnTo>
                  <a:lnTo>
                    <a:pt x="1433" y="1590"/>
                  </a:lnTo>
                  <a:lnTo>
                    <a:pt x="1432" y="1601"/>
                  </a:lnTo>
                  <a:lnTo>
                    <a:pt x="1432" y="1614"/>
                  </a:lnTo>
                  <a:lnTo>
                    <a:pt x="1433" y="1627"/>
                  </a:lnTo>
                  <a:lnTo>
                    <a:pt x="1435" y="1641"/>
                  </a:lnTo>
                  <a:lnTo>
                    <a:pt x="1438" y="1654"/>
                  </a:lnTo>
                  <a:lnTo>
                    <a:pt x="1442" y="1669"/>
                  </a:lnTo>
                  <a:lnTo>
                    <a:pt x="1448" y="1684"/>
                  </a:lnTo>
                  <a:lnTo>
                    <a:pt x="1448" y="1684"/>
                  </a:lnTo>
                  <a:lnTo>
                    <a:pt x="1450" y="1691"/>
                  </a:lnTo>
                  <a:lnTo>
                    <a:pt x="1456" y="1715"/>
                  </a:lnTo>
                  <a:lnTo>
                    <a:pt x="1458" y="1733"/>
                  </a:lnTo>
                  <a:lnTo>
                    <a:pt x="1460" y="1753"/>
                  </a:lnTo>
                  <a:lnTo>
                    <a:pt x="1463" y="1779"/>
                  </a:lnTo>
                  <a:lnTo>
                    <a:pt x="1464" y="1809"/>
                  </a:lnTo>
                  <a:lnTo>
                    <a:pt x="1464" y="1809"/>
                  </a:lnTo>
                  <a:lnTo>
                    <a:pt x="1461" y="1834"/>
                  </a:lnTo>
                  <a:lnTo>
                    <a:pt x="1458" y="1858"/>
                  </a:lnTo>
                  <a:lnTo>
                    <a:pt x="1452" y="1882"/>
                  </a:lnTo>
                  <a:lnTo>
                    <a:pt x="1444" y="1906"/>
                  </a:lnTo>
                  <a:lnTo>
                    <a:pt x="1433" y="1927"/>
                  </a:lnTo>
                  <a:lnTo>
                    <a:pt x="1421" y="1948"/>
                  </a:lnTo>
                  <a:lnTo>
                    <a:pt x="1406" y="1967"/>
                  </a:lnTo>
                  <a:lnTo>
                    <a:pt x="1390" y="1985"/>
                  </a:lnTo>
                  <a:lnTo>
                    <a:pt x="1373" y="2001"/>
                  </a:lnTo>
                  <a:lnTo>
                    <a:pt x="1353" y="2015"/>
                  </a:lnTo>
                  <a:lnTo>
                    <a:pt x="1332" y="2028"/>
                  </a:lnTo>
                  <a:lnTo>
                    <a:pt x="1311" y="2038"/>
                  </a:lnTo>
                  <a:lnTo>
                    <a:pt x="1288" y="2046"/>
                  </a:lnTo>
                  <a:lnTo>
                    <a:pt x="1265" y="2053"/>
                  </a:lnTo>
                  <a:lnTo>
                    <a:pt x="1239" y="2056"/>
                  </a:lnTo>
                  <a:lnTo>
                    <a:pt x="1214" y="2058"/>
                  </a:lnTo>
                  <a:lnTo>
                    <a:pt x="1214" y="2058"/>
                  </a:lnTo>
                  <a:lnTo>
                    <a:pt x="1189" y="2056"/>
                  </a:lnTo>
                  <a:lnTo>
                    <a:pt x="1163" y="2053"/>
                  </a:lnTo>
                  <a:lnTo>
                    <a:pt x="1140" y="2046"/>
                  </a:lnTo>
                  <a:lnTo>
                    <a:pt x="1117" y="2038"/>
                  </a:lnTo>
                  <a:lnTo>
                    <a:pt x="1095" y="2028"/>
                  </a:lnTo>
                  <a:lnTo>
                    <a:pt x="1075" y="2015"/>
                  </a:lnTo>
                  <a:lnTo>
                    <a:pt x="1055" y="2001"/>
                  </a:lnTo>
                  <a:lnTo>
                    <a:pt x="1038" y="1985"/>
                  </a:lnTo>
                  <a:lnTo>
                    <a:pt x="1022" y="1967"/>
                  </a:lnTo>
                  <a:lnTo>
                    <a:pt x="1007" y="1948"/>
                  </a:lnTo>
                  <a:lnTo>
                    <a:pt x="995" y="1927"/>
                  </a:lnTo>
                  <a:lnTo>
                    <a:pt x="985" y="1906"/>
                  </a:lnTo>
                  <a:lnTo>
                    <a:pt x="975" y="1882"/>
                  </a:lnTo>
                  <a:lnTo>
                    <a:pt x="970" y="1858"/>
                  </a:lnTo>
                  <a:lnTo>
                    <a:pt x="966" y="1834"/>
                  </a:lnTo>
                  <a:lnTo>
                    <a:pt x="965" y="1809"/>
                  </a:lnTo>
                  <a:lnTo>
                    <a:pt x="965" y="1809"/>
                  </a:lnTo>
                  <a:lnTo>
                    <a:pt x="965" y="1779"/>
                  </a:lnTo>
                  <a:lnTo>
                    <a:pt x="967" y="1753"/>
                  </a:lnTo>
                  <a:lnTo>
                    <a:pt x="970" y="1733"/>
                  </a:lnTo>
                  <a:lnTo>
                    <a:pt x="972" y="1715"/>
                  </a:lnTo>
                  <a:lnTo>
                    <a:pt x="978" y="1691"/>
                  </a:lnTo>
                  <a:lnTo>
                    <a:pt x="980" y="1684"/>
                  </a:lnTo>
                  <a:lnTo>
                    <a:pt x="980" y="1684"/>
                  </a:lnTo>
                  <a:lnTo>
                    <a:pt x="986" y="1669"/>
                  </a:lnTo>
                  <a:lnTo>
                    <a:pt x="990" y="1656"/>
                  </a:lnTo>
                  <a:lnTo>
                    <a:pt x="994" y="1642"/>
                  </a:lnTo>
                  <a:lnTo>
                    <a:pt x="996" y="1628"/>
                  </a:lnTo>
                  <a:lnTo>
                    <a:pt x="999" y="1615"/>
                  </a:lnTo>
                  <a:lnTo>
                    <a:pt x="1000" y="1602"/>
                  </a:lnTo>
                  <a:lnTo>
                    <a:pt x="1000" y="1590"/>
                  </a:lnTo>
                  <a:lnTo>
                    <a:pt x="999" y="1578"/>
                  </a:lnTo>
                  <a:lnTo>
                    <a:pt x="999" y="1578"/>
                  </a:lnTo>
                  <a:lnTo>
                    <a:pt x="999" y="1578"/>
                  </a:lnTo>
                  <a:lnTo>
                    <a:pt x="997" y="1566"/>
                  </a:lnTo>
                  <a:lnTo>
                    <a:pt x="995" y="1554"/>
                  </a:lnTo>
                  <a:lnTo>
                    <a:pt x="992" y="1544"/>
                  </a:lnTo>
                  <a:lnTo>
                    <a:pt x="988" y="1533"/>
                  </a:lnTo>
                  <a:lnTo>
                    <a:pt x="984" y="1523"/>
                  </a:lnTo>
                  <a:lnTo>
                    <a:pt x="977" y="1515"/>
                  </a:lnTo>
                  <a:lnTo>
                    <a:pt x="971" y="1507"/>
                  </a:lnTo>
                  <a:lnTo>
                    <a:pt x="963" y="1500"/>
                  </a:lnTo>
                  <a:lnTo>
                    <a:pt x="955" y="1494"/>
                  </a:lnTo>
                  <a:lnTo>
                    <a:pt x="946" y="1488"/>
                  </a:lnTo>
                  <a:lnTo>
                    <a:pt x="936" y="1484"/>
                  </a:lnTo>
                  <a:lnTo>
                    <a:pt x="926" y="1482"/>
                  </a:lnTo>
                  <a:lnTo>
                    <a:pt x="914" y="1479"/>
                  </a:lnTo>
                  <a:lnTo>
                    <a:pt x="903" y="1478"/>
                  </a:lnTo>
                  <a:lnTo>
                    <a:pt x="890" y="1478"/>
                  </a:lnTo>
                  <a:lnTo>
                    <a:pt x="876" y="1479"/>
                  </a:lnTo>
                  <a:lnTo>
                    <a:pt x="876" y="1479"/>
                  </a:lnTo>
                  <a:lnTo>
                    <a:pt x="838" y="1484"/>
                  </a:lnTo>
                  <a:lnTo>
                    <a:pt x="800" y="1490"/>
                  </a:lnTo>
                  <a:lnTo>
                    <a:pt x="762" y="1496"/>
                  </a:lnTo>
                  <a:lnTo>
                    <a:pt x="721" y="1506"/>
                  </a:lnTo>
                  <a:lnTo>
                    <a:pt x="675" y="1517"/>
                  </a:lnTo>
                  <a:lnTo>
                    <a:pt x="622" y="1532"/>
                  </a:lnTo>
                  <a:lnTo>
                    <a:pt x="560" y="1553"/>
                  </a:lnTo>
                  <a:lnTo>
                    <a:pt x="487" y="1578"/>
                  </a:lnTo>
                  <a:lnTo>
                    <a:pt x="479" y="1578"/>
                  </a:lnTo>
                  <a:lnTo>
                    <a:pt x="479" y="1578"/>
                  </a:lnTo>
                  <a:lnTo>
                    <a:pt x="504" y="1506"/>
                  </a:lnTo>
                  <a:lnTo>
                    <a:pt x="524" y="1442"/>
                  </a:lnTo>
                  <a:lnTo>
                    <a:pt x="540" y="1387"/>
                  </a:lnTo>
                  <a:lnTo>
                    <a:pt x="552" y="1339"/>
                  </a:lnTo>
                  <a:lnTo>
                    <a:pt x="561" y="1295"/>
                  </a:lnTo>
                  <a:lnTo>
                    <a:pt x="568" y="1255"/>
                  </a:lnTo>
                  <a:lnTo>
                    <a:pt x="574" y="1217"/>
                  </a:lnTo>
                  <a:lnTo>
                    <a:pt x="578" y="1177"/>
                  </a:lnTo>
                  <a:lnTo>
                    <a:pt x="578" y="1177"/>
                  </a:lnTo>
                  <a:lnTo>
                    <a:pt x="579" y="1158"/>
                  </a:lnTo>
                  <a:lnTo>
                    <a:pt x="578" y="1140"/>
                  </a:lnTo>
                  <a:lnTo>
                    <a:pt x="575" y="1124"/>
                  </a:lnTo>
                  <a:lnTo>
                    <a:pt x="569" y="1109"/>
                  </a:lnTo>
                  <a:lnTo>
                    <a:pt x="562" y="1097"/>
                  </a:lnTo>
                  <a:lnTo>
                    <a:pt x="553" y="1085"/>
                  </a:lnTo>
                  <a:lnTo>
                    <a:pt x="541" y="1075"/>
                  </a:lnTo>
                  <a:lnTo>
                    <a:pt x="528" y="1068"/>
                  </a:lnTo>
                  <a:lnTo>
                    <a:pt x="514" y="1061"/>
                  </a:lnTo>
                  <a:lnTo>
                    <a:pt x="496" y="1058"/>
                  </a:lnTo>
                  <a:lnTo>
                    <a:pt x="479" y="1054"/>
                  </a:lnTo>
                  <a:lnTo>
                    <a:pt x="461" y="1054"/>
                  </a:lnTo>
                  <a:lnTo>
                    <a:pt x="440" y="1056"/>
                  </a:lnTo>
                  <a:lnTo>
                    <a:pt x="419" y="1060"/>
                  </a:lnTo>
                  <a:lnTo>
                    <a:pt x="396" y="1066"/>
                  </a:lnTo>
                  <a:lnTo>
                    <a:pt x="373" y="1074"/>
                  </a:lnTo>
                  <a:lnTo>
                    <a:pt x="373" y="1074"/>
                  </a:lnTo>
                  <a:lnTo>
                    <a:pt x="365" y="1076"/>
                  </a:lnTo>
                  <a:lnTo>
                    <a:pt x="342" y="1082"/>
                  </a:lnTo>
                  <a:lnTo>
                    <a:pt x="325" y="1084"/>
                  </a:lnTo>
                  <a:lnTo>
                    <a:pt x="303" y="1086"/>
                  </a:lnTo>
                  <a:lnTo>
                    <a:pt x="279" y="1089"/>
                  </a:lnTo>
                  <a:lnTo>
                    <a:pt x="249" y="1089"/>
                  </a:lnTo>
                  <a:lnTo>
                    <a:pt x="249" y="1089"/>
                  </a:lnTo>
                  <a:lnTo>
                    <a:pt x="223" y="1087"/>
                  </a:lnTo>
                  <a:lnTo>
                    <a:pt x="198" y="1084"/>
                  </a:lnTo>
                  <a:lnTo>
                    <a:pt x="175" y="1078"/>
                  </a:lnTo>
                  <a:lnTo>
                    <a:pt x="152" y="1069"/>
                  </a:lnTo>
                  <a:lnTo>
                    <a:pt x="130" y="1059"/>
                  </a:lnTo>
                  <a:lnTo>
                    <a:pt x="109" y="1046"/>
                  </a:lnTo>
                  <a:lnTo>
                    <a:pt x="90" y="1032"/>
                  </a:lnTo>
                  <a:lnTo>
                    <a:pt x="73" y="1016"/>
                  </a:lnTo>
                  <a:lnTo>
                    <a:pt x="57" y="999"/>
                  </a:lnTo>
                  <a:lnTo>
                    <a:pt x="43" y="979"/>
                  </a:lnTo>
                  <a:lnTo>
                    <a:pt x="30" y="958"/>
                  </a:lnTo>
                  <a:lnTo>
                    <a:pt x="20" y="937"/>
                  </a:lnTo>
                  <a:lnTo>
                    <a:pt x="10" y="913"/>
                  </a:lnTo>
                  <a:lnTo>
                    <a:pt x="5" y="890"/>
                  </a:lnTo>
                  <a:lnTo>
                    <a:pt x="1" y="865"/>
                  </a:lnTo>
                  <a:lnTo>
                    <a:pt x="0" y="840"/>
                  </a:lnTo>
                  <a:lnTo>
                    <a:pt x="0" y="84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A56CFFD9-E413-6F7A-BA16-917D605500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92" y="1428"/>
              <a:ext cx="840" cy="1216"/>
            </a:xfrm>
            <a:custGeom>
              <a:avLst/>
              <a:gdLst>
                <a:gd name="T0" fmla="*/ 214 w 1679"/>
                <a:gd name="T1" fmla="*/ 982 h 2433"/>
                <a:gd name="T2" fmla="*/ 381 w 1679"/>
                <a:gd name="T3" fmla="*/ 974 h 2433"/>
                <a:gd name="T4" fmla="*/ 537 w 1679"/>
                <a:gd name="T5" fmla="*/ 1078 h 2433"/>
                <a:gd name="T6" fmla="*/ 579 w 1679"/>
                <a:gd name="T7" fmla="*/ 1241 h 2433"/>
                <a:gd name="T8" fmla="*/ 489 w 1679"/>
                <a:gd name="T9" fmla="*/ 1407 h 2433"/>
                <a:gd name="T10" fmla="*/ 331 w 1679"/>
                <a:gd name="T11" fmla="*/ 1464 h 2433"/>
                <a:gd name="T12" fmla="*/ 185 w 1679"/>
                <a:gd name="T13" fmla="*/ 1442 h 2433"/>
                <a:gd name="T14" fmla="*/ 71 w 1679"/>
                <a:gd name="T15" fmla="*/ 1438 h 2433"/>
                <a:gd name="T16" fmla="*/ 5 w 1679"/>
                <a:gd name="T17" fmla="*/ 1500 h 2433"/>
                <a:gd name="T18" fmla="*/ 19 w 1679"/>
                <a:gd name="T19" fmla="*/ 1673 h 2433"/>
                <a:gd name="T20" fmla="*/ 101 w 1679"/>
                <a:gd name="T21" fmla="*/ 1953 h 2433"/>
                <a:gd name="T22" fmla="*/ 537 w 1679"/>
                <a:gd name="T23" fmla="*/ 1878 h 2433"/>
                <a:gd name="T24" fmla="*/ 608 w 1679"/>
                <a:gd name="T25" fmla="*/ 1927 h 2433"/>
                <a:gd name="T26" fmla="*/ 617 w 1679"/>
                <a:gd name="T27" fmla="*/ 1977 h 2433"/>
                <a:gd name="T28" fmla="*/ 595 w 1679"/>
                <a:gd name="T29" fmla="*/ 2066 h 2433"/>
                <a:gd name="T30" fmla="*/ 587 w 1679"/>
                <a:gd name="T31" fmla="*/ 2233 h 2433"/>
                <a:gd name="T32" fmla="*/ 692 w 1679"/>
                <a:gd name="T33" fmla="*/ 2390 h 2433"/>
                <a:gd name="T34" fmla="*/ 836 w 1679"/>
                <a:gd name="T35" fmla="*/ 2433 h 2433"/>
                <a:gd name="T36" fmla="*/ 958 w 1679"/>
                <a:gd name="T37" fmla="*/ 2403 h 2433"/>
                <a:gd name="T38" fmla="*/ 1078 w 1679"/>
                <a:gd name="T39" fmla="*/ 2257 h 2433"/>
                <a:gd name="T40" fmla="*/ 1081 w 1679"/>
                <a:gd name="T41" fmla="*/ 2089 h 2433"/>
                <a:gd name="T42" fmla="*/ 1057 w 1679"/>
                <a:gd name="T43" fmla="*/ 1989 h 2433"/>
                <a:gd name="T44" fmla="*/ 1080 w 1679"/>
                <a:gd name="T45" fmla="*/ 1913 h 2433"/>
                <a:gd name="T46" fmla="*/ 1164 w 1679"/>
                <a:gd name="T47" fmla="*/ 1875 h 2433"/>
                <a:gd name="T48" fmla="*/ 1623 w 1679"/>
                <a:gd name="T49" fmla="*/ 1818 h 2433"/>
                <a:gd name="T50" fmla="*/ 1677 w 1679"/>
                <a:gd name="T51" fmla="*/ 1544 h 2433"/>
                <a:gd name="T52" fmla="*/ 1660 w 1679"/>
                <a:gd name="T53" fmla="*/ 1475 h 2433"/>
                <a:gd name="T54" fmla="*/ 1614 w 1679"/>
                <a:gd name="T55" fmla="*/ 1441 h 2433"/>
                <a:gd name="T56" fmla="*/ 1493 w 1679"/>
                <a:gd name="T57" fmla="*/ 1442 h 2433"/>
                <a:gd name="T58" fmla="*/ 1399 w 1679"/>
                <a:gd name="T59" fmla="*/ 1462 h 2433"/>
                <a:gd name="T60" fmla="*/ 1230 w 1679"/>
                <a:gd name="T61" fmla="*/ 1435 h 2433"/>
                <a:gd name="T62" fmla="*/ 1110 w 1679"/>
                <a:gd name="T63" fmla="*/ 1290 h 2433"/>
                <a:gd name="T64" fmla="*/ 1118 w 1679"/>
                <a:gd name="T65" fmla="*/ 1120 h 2433"/>
                <a:gd name="T66" fmla="*/ 1250 w 1679"/>
                <a:gd name="T67" fmla="*/ 988 h 2433"/>
                <a:gd name="T68" fmla="*/ 1420 w 1679"/>
                <a:gd name="T69" fmla="*/ 973 h 2433"/>
                <a:gd name="T70" fmla="*/ 1514 w 1679"/>
                <a:gd name="T71" fmla="*/ 997 h 2433"/>
                <a:gd name="T72" fmla="*/ 1614 w 1679"/>
                <a:gd name="T73" fmla="*/ 992 h 2433"/>
                <a:gd name="T74" fmla="*/ 1665 w 1679"/>
                <a:gd name="T75" fmla="*/ 951 h 2433"/>
                <a:gd name="T76" fmla="*/ 1676 w 1679"/>
                <a:gd name="T77" fmla="*/ 877 h 2433"/>
                <a:gd name="T78" fmla="*/ 1604 w 1679"/>
                <a:gd name="T79" fmla="*/ 551 h 2433"/>
                <a:gd name="T80" fmla="*/ 1150 w 1679"/>
                <a:gd name="T81" fmla="*/ 556 h 2433"/>
                <a:gd name="T82" fmla="*/ 1073 w 1679"/>
                <a:gd name="T83" fmla="*/ 511 h 2433"/>
                <a:gd name="T84" fmla="*/ 1058 w 1679"/>
                <a:gd name="T85" fmla="*/ 431 h 2433"/>
                <a:gd name="T86" fmla="*/ 1083 w 1679"/>
                <a:gd name="T87" fmla="*/ 325 h 2433"/>
                <a:gd name="T88" fmla="*/ 1068 w 1679"/>
                <a:gd name="T89" fmla="*/ 152 h 2433"/>
                <a:gd name="T90" fmla="*/ 936 w 1679"/>
                <a:gd name="T91" fmla="*/ 20 h 2433"/>
                <a:gd name="T92" fmla="*/ 831 w 1679"/>
                <a:gd name="T93" fmla="*/ 0 h 2433"/>
                <a:gd name="T94" fmla="*/ 673 w 1679"/>
                <a:gd name="T95" fmla="*/ 57 h 2433"/>
                <a:gd name="T96" fmla="*/ 583 w 1679"/>
                <a:gd name="T97" fmla="*/ 224 h 2433"/>
                <a:gd name="T98" fmla="*/ 597 w 1679"/>
                <a:gd name="T99" fmla="*/ 374 h 2433"/>
                <a:gd name="T100" fmla="*/ 617 w 1679"/>
                <a:gd name="T101" fmla="*/ 467 h 2433"/>
                <a:gd name="T102" fmla="*/ 602 w 1679"/>
                <a:gd name="T103" fmla="*/ 515 h 2433"/>
                <a:gd name="T104" fmla="*/ 526 w 1679"/>
                <a:gd name="T105" fmla="*/ 557 h 2433"/>
                <a:gd name="T106" fmla="*/ 101 w 1679"/>
                <a:gd name="T107" fmla="*/ 480 h 2433"/>
                <a:gd name="T108" fmla="*/ 12 w 1679"/>
                <a:gd name="T109" fmla="*/ 800 h 2433"/>
                <a:gd name="T110" fmla="*/ 9 w 1679"/>
                <a:gd name="T111" fmla="*/ 943 h 2433"/>
                <a:gd name="T112" fmla="*/ 84 w 1679"/>
                <a:gd name="T113" fmla="*/ 997 h 2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79" h="2433">
                  <a:moveTo>
                    <a:pt x="126" y="999"/>
                  </a:moveTo>
                  <a:lnTo>
                    <a:pt x="126" y="999"/>
                  </a:lnTo>
                  <a:lnTo>
                    <a:pt x="145" y="999"/>
                  </a:lnTo>
                  <a:lnTo>
                    <a:pt x="164" y="997"/>
                  </a:lnTo>
                  <a:lnTo>
                    <a:pt x="185" y="991"/>
                  </a:lnTo>
                  <a:lnTo>
                    <a:pt x="206" y="984"/>
                  </a:lnTo>
                  <a:lnTo>
                    <a:pt x="206" y="984"/>
                  </a:lnTo>
                  <a:lnTo>
                    <a:pt x="214" y="982"/>
                  </a:lnTo>
                  <a:lnTo>
                    <a:pt x="237" y="976"/>
                  </a:lnTo>
                  <a:lnTo>
                    <a:pt x="255" y="974"/>
                  </a:lnTo>
                  <a:lnTo>
                    <a:pt x="276" y="970"/>
                  </a:lnTo>
                  <a:lnTo>
                    <a:pt x="301" y="969"/>
                  </a:lnTo>
                  <a:lnTo>
                    <a:pt x="331" y="968"/>
                  </a:lnTo>
                  <a:lnTo>
                    <a:pt x="331" y="968"/>
                  </a:lnTo>
                  <a:lnTo>
                    <a:pt x="357" y="969"/>
                  </a:lnTo>
                  <a:lnTo>
                    <a:pt x="381" y="974"/>
                  </a:lnTo>
                  <a:lnTo>
                    <a:pt x="405" y="980"/>
                  </a:lnTo>
                  <a:lnTo>
                    <a:pt x="428" y="988"/>
                  </a:lnTo>
                  <a:lnTo>
                    <a:pt x="449" y="998"/>
                  </a:lnTo>
                  <a:lnTo>
                    <a:pt x="469" y="1011"/>
                  </a:lnTo>
                  <a:lnTo>
                    <a:pt x="489" y="1025"/>
                  </a:lnTo>
                  <a:lnTo>
                    <a:pt x="506" y="1041"/>
                  </a:lnTo>
                  <a:lnTo>
                    <a:pt x="522" y="1059"/>
                  </a:lnTo>
                  <a:lnTo>
                    <a:pt x="537" y="1078"/>
                  </a:lnTo>
                  <a:lnTo>
                    <a:pt x="549" y="1098"/>
                  </a:lnTo>
                  <a:lnTo>
                    <a:pt x="560" y="1120"/>
                  </a:lnTo>
                  <a:lnTo>
                    <a:pt x="569" y="1142"/>
                  </a:lnTo>
                  <a:lnTo>
                    <a:pt x="574" y="1166"/>
                  </a:lnTo>
                  <a:lnTo>
                    <a:pt x="579" y="1191"/>
                  </a:lnTo>
                  <a:lnTo>
                    <a:pt x="580" y="1216"/>
                  </a:lnTo>
                  <a:lnTo>
                    <a:pt x="580" y="1216"/>
                  </a:lnTo>
                  <a:lnTo>
                    <a:pt x="579" y="1241"/>
                  </a:lnTo>
                  <a:lnTo>
                    <a:pt x="574" y="1267"/>
                  </a:lnTo>
                  <a:lnTo>
                    <a:pt x="569" y="1290"/>
                  </a:lnTo>
                  <a:lnTo>
                    <a:pt x="560" y="1313"/>
                  </a:lnTo>
                  <a:lnTo>
                    <a:pt x="549" y="1335"/>
                  </a:lnTo>
                  <a:lnTo>
                    <a:pt x="537" y="1355"/>
                  </a:lnTo>
                  <a:lnTo>
                    <a:pt x="522" y="1374"/>
                  </a:lnTo>
                  <a:lnTo>
                    <a:pt x="506" y="1391"/>
                  </a:lnTo>
                  <a:lnTo>
                    <a:pt x="489" y="1407"/>
                  </a:lnTo>
                  <a:lnTo>
                    <a:pt x="469" y="1422"/>
                  </a:lnTo>
                  <a:lnTo>
                    <a:pt x="449" y="1435"/>
                  </a:lnTo>
                  <a:lnTo>
                    <a:pt x="428" y="1445"/>
                  </a:lnTo>
                  <a:lnTo>
                    <a:pt x="405" y="1453"/>
                  </a:lnTo>
                  <a:lnTo>
                    <a:pt x="381" y="1459"/>
                  </a:lnTo>
                  <a:lnTo>
                    <a:pt x="357" y="1462"/>
                  </a:lnTo>
                  <a:lnTo>
                    <a:pt x="331" y="1464"/>
                  </a:lnTo>
                  <a:lnTo>
                    <a:pt x="331" y="1464"/>
                  </a:lnTo>
                  <a:lnTo>
                    <a:pt x="301" y="1464"/>
                  </a:lnTo>
                  <a:lnTo>
                    <a:pt x="276" y="1461"/>
                  </a:lnTo>
                  <a:lnTo>
                    <a:pt x="255" y="1459"/>
                  </a:lnTo>
                  <a:lnTo>
                    <a:pt x="237" y="1457"/>
                  </a:lnTo>
                  <a:lnTo>
                    <a:pt x="214" y="1451"/>
                  </a:lnTo>
                  <a:lnTo>
                    <a:pt x="206" y="1449"/>
                  </a:lnTo>
                  <a:lnTo>
                    <a:pt x="206" y="1449"/>
                  </a:lnTo>
                  <a:lnTo>
                    <a:pt x="185" y="1442"/>
                  </a:lnTo>
                  <a:lnTo>
                    <a:pt x="164" y="1436"/>
                  </a:lnTo>
                  <a:lnTo>
                    <a:pt x="145" y="1434"/>
                  </a:lnTo>
                  <a:lnTo>
                    <a:pt x="126" y="1433"/>
                  </a:lnTo>
                  <a:lnTo>
                    <a:pt x="126" y="1433"/>
                  </a:lnTo>
                  <a:lnTo>
                    <a:pt x="111" y="1433"/>
                  </a:lnTo>
                  <a:lnTo>
                    <a:pt x="97" y="1434"/>
                  </a:lnTo>
                  <a:lnTo>
                    <a:pt x="84" y="1435"/>
                  </a:lnTo>
                  <a:lnTo>
                    <a:pt x="71" y="1438"/>
                  </a:lnTo>
                  <a:lnTo>
                    <a:pt x="59" y="1443"/>
                  </a:lnTo>
                  <a:lnTo>
                    <a:pt x="48" y="1447"/>
                  </a:lnTo>
                  <a:lnTo>
                    <a:pt x="38" y="1454"/>
                  </a:lnTo>
                  <a:lnTo>
                    <a:pt x="30" y="1461"/>
                  </a:lnTo>
                  <a:lnTo>
                    <a:pt x="21" y="1469"/>
                  </a:lnTo>
                  <a:lnTo>
                    <a:pt x="15" y="1480"/>
                  </a:lnTo>
                  <a:lnTo>
                    <a:pt x="9" y="1490"/>
                  </a:lnTo>
                  <a:lnTo>
                    <a:pt x="5" y="1500"/>
                  </a:lnTo>
                  <a:lnTo>
                    <a:pt x="2" y="1513"/>
                  </a:lnTo>
                  <a:lnTo>
                    <a:pt x="1" y="1527"/>
                  </a:lnTo>
                  <a:lnTo>
                    <a:pt x="0" y="1541"/>
                  </a:lnTo>
                  <a:lnTo>
                    <a:pt x="2" y="1556"/>
                  </a:lnTo>
                  <a:lnTo>
                    <a:pt x="2" y="1556"/>
                  </a:lnTo>
                  <a:lnTo>
                    <a:pt x="7" y="1594"/>
                  </a:lnTo>
                  <a:lnTo>
                    <a:pt x="12" y="1633"/>
                  </a:lnTo>
                  <a:lnTo>
                    <a:pt x="19" y="1673"/>
                  </a:lnTo>
                  <a:lnTo>
                    <a:pt x="27" y="1716"/>
                  </a:lnTo>
                  <a:lnTo>
                    <a:pt x="40" y="1764"/>
                  </a:lnTo>
                  <a:lnTo>
                    <a:pt x="55" y="1818"/>
                  </a:lnTo>
                  <a:lnTo>
                    <a:pt x="74" y="1881"/>
                  </a:lnTo>
                  <a:lnTo>
                    <a:pt x="100" y="1953"/>
                  </a:lnTo>
                  <a:lnTo>
                    <a:pt x="100" y="1953"/>
                  </a:lnTo>
                  <a:lnTo>
                    <a:pt x="101" y="1953"/>
                  </a:lnTo>
                  <a:lnTo>
                    <a:pt x="101" y="1953"/>
                  </a:lnTo>
                  <a:lnTo>
                    <a:pt x="453" y="1880"/>
                  </a:lnTo>
                  <a:lnTo>
                    <a:pt x="453" y="1880"/>
                  </a:lnTo>
                  <a:lnTo>
                    <a:pt x="469" y="1877"/>
                  </a:lnTo>
                  <a:lnTo>
                    <a:pt x="484" y="1875"/>
                  </a:lnTo>
                  <a:lnTo>
                    <a:pt x="499" y="1875"/>
                  </a:lnTo>
                  <a:lnTo>
                    <a:pt x="512" y="1875"/>
                  </a:lnTo>
                  <a:lnTo>
                    <a:pt x="526" y="1876"/>
                  </a:lnTo>
                  <a:lnTo>
                    <a:pt x="537" y="1878"/>
                  </a:lnTo>
                  <a:lnTo>
                    <a:pt x="550" y="1881"/>
                  </a:lnTo>
                  <a:lnTo>
                    <a:pt x="560" y="1885"/>
                  </a:lnTo>
                  <a:lnTo>
                    <a:pt x="570" y="1890"/>
                  </a:lnTo>
                  <a:lnTo>
                    <a:pt x="579" y="1896"/>
                  </a:lnTo>
                  <a:lnTo>
                    <a:pt x="588" y="1903"/>
                  </a:lnTo>
                  <a:lnTo>
                    <a:pt x="595" y="1910"/>
                  </a:lnTo>
                  <a:lnTo>
                    <a:pt x="602" y="1918"/>
                  </a:lnTo>
                  <a:lnTo>
                    <a:pt x="608" y="1927"/>
                  </a:lnTo>
                  <a:lnTo>
                    <a:pt x="612" y="1936"/>
                  </a:lnTo>
                  <a:lnTo>
                    <a:pt x="616" y="1946"/>
                  </a:lnTo>
                  <a:lnTo>
                    <a:pt x="616" y="1946"/>
                  </a:lnTo>
                  <a:lnTo>
                    <a:pt x="617" y="1953"/>
                  </a:lnTo>
                  <a:lnTo>
                    <a:pt x="617" y="1953"/>
                  </a:lnTo>
                  <a:lnTo>
                    <a:pt x="617" y="1953"/>
                  </a:lnTo>
                  <a:lnTo>
                    <a:pt x="617" y="1965"/>
                  </a:lnTo>
                  <a:lnTo>
                    <a:pt x="617" y="1977"/>
                  </a:lnTo>
                  <a:lnTo>
                    <a:pt x="616" y="1990"/>
                  </a:lnTo>
                  <a:lnTo>
                    <a:pt x="613" y="2003"/>
                  </a:lnTo>
                  <a:lnTo>
                    <a:pt x="611" y="2017"/>
                  </a:lnTo>
                  <a:lnTo>
                    <a:pt x="608" y="2031"/>
                  </a:lnTo>
                  <a:lnTo>
                    <a:pt x="603" y="2044"/>
                  </a:lnTo>
                  <a:lnTo>
                    <a:pt x="597" y="2059"/>
                  </a:lnTo>
                  <a:lnTo>
                    <a:pt x="597" y="2059"/>
                  </a:lnTo>
                  <a:lnTo>
                    <a:pt x="595" y="2066"/>
                  </a:lnTo>
                  <a:lnTo>
                    <a:pt x="590" y="2090"/>
                  </a:lnTo>
                  <a:lnTo>
                    <a:pt x="587" y="2108"/>
                  </a:lnTo>
                  <a:lnTo>
                    <a:pt x="585" y="2128"/>
                  </a:lnTo>
                  <a:lnTo>
                    <a:pt x="582" y="2154"/>
                  </a:lnTo>
                  <a:lnTo>
                    <a:pt x="582" y="2184"/>
                  </a:lnTo>
                  <a:lnTo>
                    <a:pt x="582" y="2184"/>
                  </a:lnTo>
                  <a:lnTo>
                    <a:pt x="583" y="2209"/>
                  </a:lnTo>
                  <a:lnTo>
                    <a:pt x="587" y="2233"/>
                  </a:lnTo>
                  <a:lnTo>
                    <a:pt x="593" y="2257"/>
                  </a:lnTo>
                  <a:lnTo>
                    <a:pt x="602" y="2281"/>
                  </a:lnTo>
                  <a:lnTo>
                    <a:pt x="612" y="2302"/>
                  </a:lnTo>
                  <a:lnTo>
                    <a:pt x="625" y="2323"/>
                  </a:lnTo>
                  <a:lnTo>
                    <a:pt x="639" y="2342"/>
                  </a:lnTo>
                  <a:lnTo>
                    <a:pt x="655" y="2360"/>
                  </a:lnTo>
                  <a:lnTo>
                    <a:pt x="673" y="2376"/>
                  </a:lnTo>
                  <a:lnTo>
                    <a:pt x="692" y="2390"/>
                  </a:lnTo>
                  <a:lnTo>
                    <a:pt x="712" y="2403"/>
                  </a:lnTo>
                  <a:lnTo>
                    <a:pt x="734" y="2413"/>
                  </a:lnTo>
                  <a:lnTo>
                    <a:pt x="757" y="2421"/>
                  </a:lnTo>
                  <a:lnTo>
                    <a:pt x="782" y="2428"/>
                  </a:lnTo>
                  <a:lnTo>
                    <a:pt x="806" y="2431"/>
                  </a:lnTo>
                  <a:lnTo>
                    <a:pt x="831" y="2433"/>
                  </a:lnTo>
                  <a:lnTo>
                    <a:pt x="831" y="2433"/>
                  </a:lnTo>
                  <a:lnTo>
                    <a:pt x="836" y="2433"/>
                  </a:lnTo>
                  <a:lnTo>
                    <a:pt x="836" y="2433"/>
                  </a:lnTo>
                  <a:lnTo>
                    <a:pt x="839" y="2433"/>
                  </a:lnTo>
                  <a:lnTo>
                    <a:pt x="839" y="2433"/>
                  </a:lnTo>
                  <a:lnTo>
                    <a:pt x="864" y="2431"/>
                  </a:lnTo>
                  <a:lnTo>
                    <a:pt x="890" y="2428"/>
                  </a:lnTo>
                  <a:lnTo>
                    <a:pt x="913" y="2421"/>
                  </a:lnTo>
                  <a:lnTo>
                    <a:pt x="936" y="2413"/>
                  </a:lnTo>
                  <a:lnTo>
                    <a:pt x="958" y="2403"/>
                  </a:lnTo>
                  <a:lnTo>
                    <a:pt x="978" y="2390"/>
                  </a:lnTo>
                  <a:lnTo>
                    <a:pt x="998" y="2376"/>
                  </a:lnTo>
                  <a:lnTo>
                    <a:pt x="1015" y="2360"/>
                  </a:lnTo>
                  <a:lnTo>
                    <a:pt x="1031" y="2342"/>
                  </a:lnTo>
                  <a:lnTo>
                    <a:pt x="1045" y="2323"/>
                  </a:lnTo>
                  <a:lnTo>
                    <a:pt x="1058" y="2302"/>
                  </a:lnTo>
                  <a:lnTo>
                    <a:pt x="1068" y="2281"/>
                  </a:lnTo>
                  <a:lnTo>
                    <a:pt x="1078" y="2257"/>
                  </a:lnTo>
                  <a:lnTo>
                    <a:pt x="1083" y="2233"/>
                  </a:lnTo>
                  <a:lnTo>
                    <a:pt x="1087" y="2209"/>
                  </a:lnTo>
                  <a:lnTo>
                    <a:pt x="1088" y="2184"/>
                  </a:lnTo>
                  <a:lnTo>
                    <a:pt x="1088" y="2184"/>
                  </a:lnTo>
                  <a:lnTo>
                    <a:pt x="1088" y="2154"/>
                  </a:lnTo>
                  <a:lnTo>
                    <a:pt x="1086" y="2128"/>
                  </a:lnTo>
                  <a:lnTo>
                    <a:pt x="1083" y="2108"/>
                  </a:lnTo>
                  <a:lnTo>
                    <a:pt x="1081" y="2089"/>
                  </a:lnTo>
                  <a:lnTo>
                    <a:pt x="1075" y="2066"/>
                  </a:lnTo>
                  <a:lnTo>
                    <a:pt x="1073" y="2059"/>
                  </a:lnTo>
                  <a:lnTo>
                    <a:pt x="1073" y="2059"/>
                  </a:lnTo>
                  <a:lnTo>
                    <a:pt x="1067" y="2044"/>
                  </a:lnTo>
                  <a:lnTo>
                    <a:pt x="1064" y="2029"/>
                  </a:lnTo>
                  <a:lnTo>
                    <a:pt x="1060" y="2016"/>
                  </a:lnTo>
                  <a:lnTo>
                    <a:pt x="1058" y="2002"/>
                  </a:lnTo>
                  <a:lnTo>
                    <a:pt x="1057" y="1989"/>
                  </a:lnTo>
                  <a:lnTo>
                    <a:pt x="1057" y="1976"/>
                  </a:lnTo>
                  <a:lnTo>
                    <a:pt x="1058" y="1965"/>
                  </a:lnTo>
                  <a:lnTo>
                    <a:pt x="1060" y="1953"/>
                  </a:lnTo>
                  <a:lnTo>
                    <a:pt x="1060" y="1953"/>
                  </a:lnTo>
                  <a:lnTo>
                    <a:pt x="1064" y="1942"/>
                  </a:lnTo>
                  <a:lnTo>
                    <a:pt x="1068" y="1931"/>
                  </a:lnTo>
                  <a:lnTo>
                    <a:pt x="1073" y="1922"/>
                  </a:lnTo>
                  <a:lnTo>
                    <a:pt x="1080" y="1913"/>
                  </a:lnTo>
                  <a:lnTo>
                    <a:pt x="1087" y="1906"/>
                  </a:lnTo>
                  <a:lnTo>
                    <a:pt x="1095" y="1898"/>
                  </a:lnTo>
                  <a:lnTo>
                    <a:pt x="1104" y="1892"/>
                  </a:lnTo>
                  <a:lnTo>
                    <a:pt x="1114" y="1886"/>
                  </a:lnTo>
                  <a:lnTo>
                    <a:pt x="1126" y="1882"/>
                  </a:lnTo>
                  <a:lnTo>
                    <a:pt x="1137" y="1878"/>
                  </a:lnTo>
                  <a:lnTo>
                    <a:pt x="1150" y="1876"/>
                  </a:lnTo>
                  <a:lnTo>
                    <a:pt x="1164" y="1875"/>
                  </a:lnTo>
                  <a:lnTo>
                    <a:pt x="1178" y="1875"/>
                  </a:lnTo>
                  <a:lnTo>
                    <a:pt x="1193" y="1875"/>
                  </a:lnTo>
                  <a:lnTo>
                    <a:pt x="1209" y="1877"/>
                  </a:lnTo>
                  <a:lnTo>
                    <a:pt x="1225" y="1880"/>
                  </a:lnTo>
                  <a:lnTo>
                    <a:pt x="1578" y="1953"/>
                  </a:lnTo>
                  <a:lnTo>
                    <a:pt x="1578" y="1953"/>
                  </a:lnTo>
                  <a:lnTo>
                    <a:pt x="1604" y="1881"/>
                  </a:lnTo>
                  <a:lnTo>
                    <a:pt x="1623" y="1818"/>
                  </a:lnTo>
                  <a:lnTo>
                    <a:pt x="1639" y="1764"/>
                  </a:lnTo>
                  <a:lnTo>
                    <a:pt x="1651" y="1716"/>
                  </a:lnTo>
                  <a:lnTo>
                    <a:pt x="1659" y="1673"/>
                  </a:lnTo>
                  <a:lnTo>
                    <a:pt x="1666" y="1633"/>
                  </a:lnTo>
                  <a:lnTo>
                    <a:pt x="1672" y="1594"/>
                  </a:lnTo>
                  <a:lnTo>
                    <a:pt x="1676" y="1556"/>
                  </a:lnTo>
                  <a:lnTo>
                    <a:pt x="1676" y="1556"/>
                  </a:lnTo>
                  <a:lnTo>
                    <a:pt x="1677" y="1544"/>
                  </a:lnTo>
                  <a:lnTo>
                    <a:pt x="1679" y="1534"/>
                  </a:lnTo>
                  <a:lnTo>
                    <a:pt x="1677" y="1525"/>
                  </a:lnTo>
                  <a:lnTo>
                    <a:pt x="1676" y="1515"/>
                  </a:lnTo>
                  <a:lnTo>
                    <a:pt x="1675" y="1506"/>
                  </a:lnTo>
                  <a:lnTo>
                    <a:pt x="1672" y="1498"/>
                  </a:lnTo>
                  <a:lnTo>
                    <a:pt x="1669" y="1490"/>
                  </a:lnTo>
                  <a:lnTo>
                    <a:pt x="1665" y="1482"/>
                  </a:lnTo>
                  <a:lnTo>
                    <a:pt x="1660" y="1475"/>
                  </a:lnTo>
                  <a:lnTo>
                    <a:pt x="1656" y="1468"/>
                  </a:lnTo>
                  <a:lnTo>
                    <a:pt x="1650" y="1462"/>
                  </a:lnTo>
                  <a:lnTo>
                    <a:pt x="1644" y="1457"/>
                  </a:lnTo>
                  <a:lnTo>
                    <a:pt x="1637" y="1452"/>
                  </a:lnTo>
                  <a:lnTo>
                    <a:pt x="1630" y="1447"/>
                  </a:lnTo>
                  <a:lnTo>
                    <a:pt x="1622" y="1444"/>
                  </a:lnTo>
                  <a:lnTo>
                    <a:pt x="1614" y="1441"/>
                  </a:lnTo>
                  <a:lnTo>
                    <a:pt x="1614" y="1441"/>
                  </a:lnTo>
                  <a:lnTo>
                    <a:pt x="1600" y="1436"/>
                  </a:lnTo>
                  <a:lnTo>
                    <a:pt x="1585" y="1434"/>
                  </a:lnTo>
                  <a:lnTo>
                    <a:pt x="1568" y="1433"/>
                  </a:lnTo>
                  <a:lnTo>
                    <a:pt x="1551" y="1433"/>
                  </a:lnTo>
                  <a:lnTo>
                    <a:pt x="1551" y="1433"/>
                  </a:lnTo>
                  <a:lnTo>
                    <a:pt x="1534" y="1434"/>
                  </a:lnTo>
                  <a:lnTo>
                    <a:pt x="1514" y="1436"/>
                  </a:lnTo>
                  <a:lnTo>
                    <a:pt x="1493" y="1442"/>
                  </a:lnTo>
                  <a:lnTo>
                    <a:pt x="1471" y="1449"/>
                  </a:lnTo>
                  <a:lnTo>
                    <a:pt x="1471" y="1449"/>
                  </a:lnTo>
                  <a:lnTo>
                    <a:pt x="1471" y="1449"/>
                  </a:lnTo>
                  <a:lnTo>
                    <a:pt x="1471" y="1449"/>
                  </a:lnTo>
                  <a:lnTo>
                    <a:pt x="1461" y="1452"/>
                  </a:lnTo>
                  <a:lnTo>
                    <a:pt x="1437" y="1457"/>
                  </a:lnTo>
                  <a:lnTo>
                    <a:pt x="1420" y="1460"/>
                  </a:lnTo>
                  <a:lnTo>
                    <a:pt x="1399" y="1462"/>
                  </a:lnTo>
                  <a:lnTo>
                    <a:pt x="1375" y="1464"/>
                  </a:lnTo>
                  <a:lnTo>
                    <a:pt x="1347" y="1464"/>
                  </a:lnTo>
                  <a:lnTo>
                    <a:pt x="1347" y="1464"/>
                  </a:lnTo>
                  <a:lnTo>
                    <a:pt x="1322" y="1462"/>
                  </a:lnTo>
                  <a:lnTo>
                    <a:pt x="1297" y="1459"/>
                  </a:lnTo>
                  <a:lnTo>
                    <a:pt x="1273" y="1453"/>
                  </a:lnTo>
                  <a:lnTo>
                    <a:pt x="1250" y="1445"/>
                  </a:lnTo>
                  <a:lnTo>
                    <a:pt x="1230" y="1435"/>
                  </a:lnTo>
                  <a:lnTo>
                    <a:pt x="1209" y="1422"/>
                  </a:lnTo>
                  <a:lnTo>
                    <a:pt x="1189" y="1407"/>
                  </a:lnTo>
                  <a:lnTo>
                    <a:pt x="1172" y="1391"/>
                  </a:lnTo>
                  <a:lnTo>
                    <a:pt x="1156" y="1374"/>
                  </a:lnTo>
                  <a:lnTo>
                    <a:pt x="1141" y="1355"/>
                  </a:lnTo>
                  <a:lnTo>
                    <a:pt x="1128" y="1335"/>
                  </a:lnTo>
                  <a:lnTo>
                    <a:pt x="1118" y="1313"/>
                  </a:lnTo>
                  <a:lnTo>
                    <a:pt x="1110" y="1290"/>
                  </a:lnTo>
                  <a:lnTo>
                    <a:pt x="1104" y="1267"/>
                  </a:lnTo>
                  <a:lnTo>
                    <a:pt x="1099" y="1241"/>
                  </a:lnTo>
                  <a:lnTo>
                    <a:pt x="1098" y="1216"/>
                  </a:lnTo>
                  <a:lnTo>
                    <a:pt x="1098" y="1216"/>
                  </a:lnTo>
                  <a:lnTo>
                    <a:pt x="1099" y="1191"/>
                  </a:lnTo>
                  <a:lnTo>
                    <a:pt x="1104" y="1166"/>
                  </a:lnTo>
                  <a:lnTo>
                    <a:pt x="1110" y="1142"/>
                  </a:lnTo>
                  <a:lnTo>
                    <a:pt x="1118" y="1120"/>
                  </a:lnTo>
                  <a:lnTo>
                    <a:pt x="1128" y="1098"/>
                  </a:lnTo>
                  <a:lnTo>
                    <a:pt x="1141" y="1078"/>
                  </a:lnTo>
                  <a:lnTo>
                    <a:pt x="1156" y="1059"/>
                  </a:lnTo>
                  <a:lnTo>
                    <a:pt x="1172" y="1041"/>
                  </a:lnTo>
                  <a:lnTo>
                    <a:pt x="1189" y="1025"/>
                  </a:lnTo>
                  <a:lnTo>
                    <a:pt x="1209" y="1011"/>
                  </a:lnTo>
                  <a:lnTo>
                    <a:pt x="1230" y="998"/>
                  </a:lnTo>
                  <a:lnTo>
                    <a:pt x="1250" y="988"/>
                  </a:lnTo>
                  <a:lnTo>
                    <a:pt x="1273" y="980"/>
                  </a:lnTo>
                  <a:lnTo>
                    <a:pt x="1297" y="974"/>
                  </a:lnTo>
                  <a:lnTo>
                    <a:pt x="1322" y="969"/>
                  </a:lnTo>
                  <a:lnTo>
                    <a:pt x="1347" y="968"/>
                  </a:lnTo>
                  <a:lnTo>
                    <a:pt x="1347" y="968"/>
                  </a:lnTo>
                  <a:lnTo>
                    <a:pt x="1375" y="969"/>
                  </a:lnTo>
                  <a:lnTo>
                    <a:pt x="1399" y="970"/>
                  </a:lnTo>
                  <a:lnTo>
                    <a:pt x="1420" y="973"/>
                  </a:lnTo>
                  <a:lnTo>
                    <a:pt x="1437" y="975"/>
                  </a:lnTo>
                  <a:lnTo>
                    <a:pt x="1461" y="981"/>
                  </a:lnTo>
                  <a:lnTo>
                    <a:pt x="1471" y="984"/>
                  </a:lnTo>
                  <a:lnTo>
                    <a:pt x="1471" y="984"/>
                  </a:lnTo>
                  <a:lnTo>
                    <a:pt x="1471" y="984"/>
                  </a:lnTo>
                  <a:lnTo>
                    <a:pt x="1471" y="984"/>
                  </a:lnTo>
                  <a:lnTo>
                    <a:pt x="1493" y="991"/>
                  </a:lnTo>
                  <a:lnTo>
                    <a:pt x="1514" y="997"/>
                  </a:lnTo>
                  <a:lnTo>
                    <a:pt x="1534" y="999"/>
                  </a:lnTo>
                  <a:lnTo>
                    <a:pt x="1551" y="999"/>
                  </a:lnTo>
                  <a:lnTo>
                    <a:pt x="1551" y="999"/>
                  </a:lnTo>
                  <a:lnTo>
                    <a:pt x="1568" y="1000"/>
                  </a:lnTo>
                  <a:lnTo>
                    <a:pt x="1585" y="999"/>
                  </a:lnTo>
                  <a:lnTo>
                    <a:pt x="1600" y="996"/>
                  </a:lnTo>
                  <a:lnTo>
                    <a:pt x="1614" y="992"/>
                  </a:lnTo>
                  <a:lnTo>
                    <a:pt x="1614" y="992"/>
                  </a:lnTo>
                  <a:lnTo>
                    <a:pt x="1622" y="989"/>
                  </a:lnTo>
                  <a:lnTo>
                    <a:pt x="1630" y="984"/>
                  </a:lnTo>
                  <a:lnTo>
                    <a:pt x="1637" y="981"/>
                  </a:lnTo>
                  <a:lnTo>
                    <a:pt x="1644" y="975"/>
                  </a:lnTo>
                  <a:lnTo>
                    <a:pt x="1650" y="970"/>
                  </a:lnTo>
                  <a:lnTo>
                    <a:pt x="1656" y="964"/>
                  </a:lnTo>
                  <a:lnTo>
                    <a:pt x="1660" y="958"/>
                  </a:lnTo>
                  <a:lnTo>
                    <a:pt x="1665" y="951"/>
                  </a:lnTo>
                  <a:lnTo>
                    <a:pt x="1669" y="943"/>
                  </a:lnTo>
                  <a:lnTo>
                    <a:pt x="1672" y="935"/>
                  </a:lnTo>
                  <a:lnTo>
                    <a:pt x="1675" y="927"/>
                  </a:lnTo>
                  <a:lnTo>
                    <a:pt x="1676" y="917"/>
                  </a:lnTo>
                  <a:lnTo>
                    <a:pt x="1677" y="908"/>
                  </a:lnTo>
                  <a:lnTo>
                    <a:pt x="1679" y="898"/>
                  </a:lnTo>
                  <a:lnTo>
                    <a:pt x="1677" y="888"/>
                  </a:lnTo>
                  <a:lnTo>
                    <a:pt x="1676" y="877"/>
                  </a:lnTo>
                  <a:lnTo>
                    <a:pt x="1676" y="877"/>
                  </a:lnTo>
                  <a:lnTo>
                    <a:pt x="1672" y="838"/>
                  </a:lnTo>
                  <a:lnTo>
                    <a:pt x="1666" y="800"/>
                  </a:lnTo>
                  <a:lnTo>
                    <a:pt x="1659" y="760"/>
                  </a:lnTo>
                  <a:lnTo>
                    <a:pt x="1651" y="717"/>
                  </a:lnTo>
                  <a:lnTo>
                    <a:pt x="1639" y="669"/>
                  </a:lnTo>
                  <a:lnTo>
                    <a:pt x="1623" y="614"/>
                  </a:lnTo>
                  <a:lnTo>
                    <a:pt x="1604" y="551"/>
                  </a:lnTo>
                  <a:lnTo>
                    <a:pt x="1578" y="480"/>
                  </a:lnTo>
                  <a:lnTo>
                    <a:pt x="1225" y="552"/>
                  </a:lnTo>
                  <a:lnTo>
                    <a:pt x="1225" y="552"/>
                  </a:lnTo>
                  <a:lnTo>
                    <a:pt x="1209" y="556"/>
                  </a:lnTo>
                  <a:lnTo>
                    <a:pt x="1193" y="558"/>
                  </a:lnTo>
                  <a:lnTo>
                    <a:pt x="1178" y="558"/>
                  </a:lnTo>
                  <a:lnTo>
                    <a:pt x="1164" y="558"/>
                  </a:lnTo>
                  <a:lnTo>
                    <a:pt x="1150" y="556"/>
                  </a:lnTo>
                  <a:lnTo>
                    <a:pt x="1137" y="553"/>
                  </a:lnTo>
                  <a:lnTo>
                    <a:pt x="1126" y="550"/>
                  </a:lnTo>
                  <a:lnTo>
                    <a:pt x="1114" y="545"/>
                  </a:lnTo>
                  <a:lnTo>
                    <a:pt x="1104" y="541"/>
                  </a:lnTo>
                  <a:lnTo>
                    <a:pt x="1095" y="534"/>
                  </a:lnTo>
                  <a:lnTo>
                    <a:pt x="1087" y="527"/>
                  </a:lnTo>
                  <a:lnTo>
                    <a:pt x="1080" y="519"/>
                  </a:lnTo>
                  <a:lnTo>
                    <a:pt x="1073" y="511"/>
                  </a:lnTo>
                  <a:lnTo>
                    <a:pt x="1068" y="500"/>
                  </a:lnTo>
                  <a:lnTo>
                    <a:pt x="1064" y="490"/>
                  </a:lnTo>
                  <a:lnTo>
                    <a:pt x="1060" y="480"/>
                  </a:lnTo>
                  <a:lnTo>
                    <a:pt x="1060" y="480"/>
                  </a:lnTo>
                  <a:lnTo>
                    <a:pt x="1058" y="468"/>
                  </a:lnTo>
                  <a:lnTo>
                    <a:pt x="1057" y="457"/>
                  </a:lnTo>
                  <a:lnTo>
                    <a:pt x="1057" y="444"/>
                  </a:lnTo>
                  <a:lnTo>
                    <a:pt x="1058" y="431"/>
                  </a:lnTo>
                  <a:lnTo>
                    <a:pt x="1060" y="417"/>
                  </a:lnTo>
                  <a:lnTo>
                    <a:pt x="1064" y="404"/>
                  </a:lnTo>
                  <a:lnTo>
                    <a:pt x="1067" y="389"/>
                  </a:lnTo>
                  <a:lnTo>
                    <a:pt x="1073" y="374"/>
                  </a:lnTo>
                  <a:lnTo>
                    <a:pt x="1073" y="374"/>
                  </a:lnTo>
                  <a:lnTo>
                    <a:pt x="1075" y="366"/>
                  </a:lnTo>
                  <a:lnTo>
                    <a:pt x="1081" y="343"/>
                  </a:lnTo>
                  <a:lnTo>
                    <a:pt x="1083" y="325"/>
                  </a:lnTo>
                  <a:lnTo>
                    <a:pt x="1086" y="303"/>
                  </a:lnTo>
                  <a:lnTo>
                    <a:pt x="1088" y="278"/>
                  </a:lnTo>
                  <a:lnTo>
                    <a:pt x="1088" y="249"/>
                  </a:lnTo>
                  <a:lnTo>
                    <a:pt x="1088" y="249"/>
                  </a:lnTo>
                  <a:lnTo>
                    <a:pt x="1087" y="224"/>
                  </a:lnTo>
                  <a:lnTo>
                    <a:pt x="1083" y="198"/>
                  </a:lnTo>
                  <a:lnTo>
                    <a:pt x="1078" y="175"/>
                  </a:lnTo>
                  <a:lnTo>
                    <a:pt x="1068" y="152"/>
                  </a:lnTo>
                  <a:lnTo>
                    <a:pt x="1058" y="131"/>
                  </a:lnTo>
                  <a:lnTo>
                    <a:pt x="1045" y="110"/>
                  </a:lnTo>
                  <a:lnTo>
                    <a:pt x="1031" y="90"/>
                  </a:lnTo>
                  <a:lnTo>
                    <a:pt x="1015" y="73"/>
                  </a:lnTo>
                  <a:lnTo>
                    <a:pt x="998" y="57"/>
                  </a:lnTo>
                  <a:lnTo>
                    <a:pt x="978" y="43"/>
                  </a:lnTo>
                  <a:lnTo>
                    <a:pt x="958" y="30"/>
                  </a:lnTo>
                  <a:lnTo>
                    <a:pt x="936" y="20"/>
                  </a:lnTo>
                  <a:lnTo>
                    <a:pt x="913" y="11"/>
                  </a:lnTo>
                  <a:lnTo>
                    <a:pt x="890" y="5"/>
                  </a:lnTo>
                  <a:lnTo>
                    <a:pt x="864" y="1"/>
                  </a:lnTo>
                  <a:lnTo>
                    <a:pt x="839" y="0"/>
                  </a:lnTo>
                  <a:lnTo>
                    <a:pt x="839" y="0"/>
                  </a:lnTo>
                  <a:lnTo>
                    <a:pt x="836" y="0"/>
                  </a:lnTo>
                  <a:lnTo>
                    <a:pt x="836" y="0"/>
                  </a:lnTo>
                  <a:lnTo>
                    <a:pt x="831" y="0"/>
                  </a:lnTo>
                  <a:lnTo>
                    <a:pt x="831" y="0"/>
                  </a:lnTo>
                  <a:lnTo>
                    <a:pt x="806" y="1"/>
                  </a:lnTo>
                  <a:lnTo>
                    <a:pt x="782" y="5"/>
                  </a:lnTo>
                  <a:lnTo>
                    <a:pt x="757" y="11"/>
                  </a:lnTo>
                  <a:lnTo>
                    <a:pt x="734" y="20"/>
                  </a:lnTo>
                  <a:lnTo>
                    <a:pt x="712" y="30"/>
                  </a:lnTo>
                  <a:lnTo>
                    <a:pt x="692" y="42"/>
                  </a:lnTo>
                  <a:lnTo>
                    <a:pt x="673" y="57"/>
                  </a:lnTo>
                  <a:lnTo>
                    <a:pt x="655" y="73"/>
                  </a:lnTo>
                  <a:lnTo>
                    <a:pt x="639" y="90"/>
                  </a:lnTo>
                  <a:lnTo>
                    <a:pt x="625" y="110"/>
                  </a:lnTo>
                  <a:lnTo>
                    <a:pt x="612" y="131"/>
                  </a:lnTo>
                  <a:lnTo>
                    <a:pt x="602" y="152"/>
                  </a:lnTo>
                  <a:lnTo>
                    <a:pt x="593" y="175"/>
                  </a:lnTo>
                  <a:lnTo>
                    <a:pt x="587" y="198"/>
                  </a:lnTo>
                  <a:lnTo>
                    <a:pt x="583" y="224"/>
                  </a:lnTo>
                  <a:lnTo>
                    <a:pt x="582" y="249"/>
                  </a:lnTo>
                  <a:lnTo>
                    <a:pt x="582" y="249"/>
                  </a:lnTo>
                  <a:lnTo>
                    <a:pt x="582" y="278"/>
                  </a:lnTo>
                  <a:lnTo>
                    <a:pt x="585" y="303"/>
                  </a:lnTo>
                  <a:lnTo>
                    <a:pt x="587" y="325"/>
                  </a:lnTo>
                  <a:lnTo>
                    <a:pt x="590" y="343"/>
                  </a:lnTo>
                  <a:lnTo>
                    <a:pt x="595" y="366"/>
                  </a:lnTo>
                  <a:lnTo>
                    <a:pt x="597" y="374"/>
                  </a:lnTo>
                  <a:lnTo>
                    <a:pt x="597" y="374"/>
                  </a:lnTo>
                  <a:lnTo>
                    <a:pt x="603" y="389"/>
                  </a:lnTo>
                  <a:lnTo>
                    <a:pt x="608" y="402"/>
                  </a:lnTo>
                  <a:lnTo>
                    <a:pt x="611" y="416"/>
                  </a:lnTo>
                  <a:lnTo>
                    <a:pt x="613" y="430"/>
                  </a:lnTo>
                  <a:lnTo>
                    <a:pt x="616" y="443"/>
                  </a:lnTo>
                  <a:lnTo>
                    <a:pt x="617" y="455"/>
                  </a:lnTo>
                  <a:lnTo>
                    <a:pt x="617" y="467"/>
                  </a:lnTo>
                  <a:lnTo>
                    <a:pt x="617" y="480"/>
                  </a:lnTo>
                  <a:lnTo>
                    <a:pt x="617" y="480"/>
                  </a:lnTo>
                  <a:lnTo>
                    <a:pt x="617" y="480"/>
                  </a:lnTo>
                  <a:lnTo>
                    <a:pt x="616" y="487"/>
                  </a:lnTo>
                  <a:lnTo>
                    <a:pt x="616" y="487"/>
                  </a:lnTo>
                  <a:lnTo>
                    <a:pt x="612" y="497"/>
                  </a:lnTo>
                  <a:lnTo>
                    <a:pt x="608" y="506"/>
                  </a:lnTo>
                  <a:lnTo>
                    <a:pt x="602" y="515"/>
                  </a:lnTo>
                  <a:lnTo>
                    <a:pt x="595" y="523"/>
                  </a:lnTo>
                  <a:lnTo>
                    <a:pt x="588" y="530"/>
                  </a:lnTo>
                  <a:lnTo>
                    <a:pt x="579" y="537"/>
                  </a:lnTo>
                  <a:lnTo>
                    <a:pt x="571" y="543"/>
                  </a:lnTo>
                  <a:lnTo>
                    <a:pt x="560" y="548"/>
                  </a:lnTo>
                  <a:lnTo>
                    <a:pt x="550" y="551"/>
                  </a:lnTo>
                  <a:lnTo>
                    <a:pt x="537" y="555"/>
                  </a:lnTo>
                  <a:lnTo>
                    <a:pt x="526" y="557"/>
                  </a:lnTo>
                  <a:lnTo>
                    <a:pt x="512" y="558"/>
                  </a:lnTo>
                  <a:lnTo>
                    <a:pt x="499" y="558"/>
                  </a:lnTo>
                  <a:lnTo>
                    <a:pt x="484" y="557"/>
                  </a:lnTo>
                  <a:lnTo>
                    <a:pt x="469" y="556"/>
                  </a:lnTo>
                  <a:lnTo>
                    <a:pt x="453" y="552"/>
                  </a:lnTo>
                  <a:lnTo>
                    <a:pt x="101" y="480"/>
                  </a:lnTo>
                  <a:lnTo>
                    <a:pt x="101" y="480"/>
                  </a:lnTo>
                  <a:lnTo>
                    <a:pt x="101" y="480"/>
                  </a:lnTo>
                  <a:lnTo>
                    <a:pt x="100" y="480"/>
                  </a:lnTo>
                  <a:lnTo>
                    <a:pt x="100" y="480"/>
                  </a:lnTo>
                  <a:lnTo>
                    <a:pt x="74" y="551"/>
                  </a:lnTo>
                  <a:lnTo>
                    <a:pt x="55" y="614"/>
                  </a:lnTo>
                  <a:lnTo>
                    <a:pt x="40" y="669"/>
                  </a:lnTo>
                  <a:lnTo>
                    <a:pt x="27" y="717"/>
                  </a:lnTo>
                  <a:lnTo>
                    <a:pt x="19" y="760"/>
                  </a:lnTo>
                  <a:lnTo>
                    <a:pt x="12" y="800"/>
                  </a:lnTo>
                  <a:lnTo>
                    <a:pt x="7" y="838"/>
                  </a:lnTo>
                  <a:lnTo>
                    <a:pt x="2" y="877"/>
                  </a:lnTo>
                  <a:lnTo>
                    <a:pt x="2" y="877"/>
                  </a:lnTo>
                  <a:lnTo>
                    <a:pt x="0" y="892"/>
                  </a:lnTo>
                  <a:lnTo>
                    <a:pt x="1" y="906"/>
                  </a:lnTo>
                  <a:lnTo>
                    <a:pt x="2" y="920"/>
                  </a:lnTo>
                  <a:lnTo>
                    <a:pt x="5" y="931"/>
                  </a:lnTo>
                  <a:lnTo>
                    <a:pt x="9" y="943"/>
                  </a:lnTo>
                  <a:lnTo>
                    <a:pt x="15" y="953"/>
                  </a:lnTo>
                  <a:lnTo>
                    <a:pt x="21" y="962"/>
                  </a:lnTo>
                  <a:lnTo>
                    <a:pt x="30" y="972"/>
                  </a:lnTo>
                  <a:lnTo>
                    <a:pt x="38" y="979"/>
                  </a:lnTo>
                  <a:lnTo>
                    <a:pt x="48" y="985"/>
                  </a:lnTo>
                  <a:lnTo>
                    <a:pt x="59" y="990"/>
                  </a:lnTo>
                  <a:lnTo>
                    <a:pt x="71" y="995"/>
                  </a:lnTo>
                  <a:lnTo>
                    <a:pt x="84" y="997"/>
                  </a:lnTo>
                  <a:lnTo>
                    <a:pt x="97" y="999"/>
                  </a:lnTo>
                  <a:lnTo>
                    <a:pt x="111" y="1000"/>
                  </a:lnTo>
                  <a:lnTo>
                    <a:pt x="126" y="999"/>
                  </a:lnTo>
                  <a:lnTo>
                    <a:pt x="126" y="999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2C5DFAD-6739-F420-797A-E55BC833E989}"/>
              </a:ext>
            </a:extLst>
          </p:cNvPr>
          <p:cNvSpPr txBox="1">
            <a:spLocks/>
          </p:cNvSpPr>
          <p:nvPr/>
        </p:nvSpPr>
        <p:spPr>
          <a:xfrm>
            <a:off x="433619" y="3197015"/>
            <a:ext cx="3271277" cy="1813278"/>
          </a:xfrm>
          <a:prstGeom prst="rect">
            <a:avLst/>
          </a:prstGeom>
        </p:spPr>
        <p:txBody>
          <a:bodyPr/>
          <a:lstStyle>
            <a:lvl1pPr marL="6350" marR="0" indent="0" algn="l" defTabSz="68564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None/>
              <a:tabLst/>
              <a:defRPr sz="16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1pPr>
            <a:lvl2pPr marL="6350" marR="0" indent="0" algn="l" defTabSz="68564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None/>
              <a:tabLst/>
              <a:defRPr sz="14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2pPr>
            <a:lvl3pPr marL="6350" indent="0" algn="l" defTabSz="685640" rtl="0" eaLnBrk="1" latinLnBrk="0" hangingPunct="1">
              <a:lnSpc>
                <a:spcPts val="17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12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3pPr>
            <a:lvl4pPr marL="6350" indent="0" algn="l" defTabSz="685640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95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4pPr>
            <a:lvl5pPr marL="6350" indent="0" algn="l" defTabSz="685640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9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5pPr>
            <a:lvl6pPr marL="188551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33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5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7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de-DE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ellige 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ientag inkl. HelferInnen-Treffen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einsame Jahresplanung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mmtisch zur Jahresmitgliederversammlung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ihnachtstreffen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66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FFFB78-CD5A-EB0C-F017-2A4ABDBA4914}"/>
              </a:ext>
            </a:extLst>
          </p:cNvPr>
          <p:cNvSpPr txBox="1">
            <a:spLocks/>
          </p:cNvSpPr>
          <p:nvPr/>
        </p:nvSpPr>
        <p:spPr>
          <a:xfrm>
            <a:off x="418956" y="1774694"/>
            <a:ext cx="3377189" cy="1813278"/>
          </a:xfrm>
          <a:prstGeom prst="rect">
            <a:avLst/>
          </a:prstGeom>
        </p:spPr>
        <p:txBody>
          <a:bodyPr/>
          <a:lstStyle>
            <a:lvl1pPr marL="6350" marR="0" indent="0" algn="l" defTabSz="68564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None/>
              <a:tabLst/>
              <a:defRPr sz="16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1pPr>
            <a:lvl2pPr marL="6350" marR="0" indent="0" algn="l" defTabSz="68564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None/>
              <a:tabLst/>
              <a:defRPr sz="14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2pPr>
            <a:lvl3pPr marL="6350" indent="0" algn="l" defTabSz="685640" rtl="0" eaLnBrk="1" latinLnBrk="0" hangingPunct="1">
              <a:lnSpc>
                <a:spcPts val="17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12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3pPr>
            <a:lvl4pPr marL="6350" indent="0" algn="l" defTabSz="685640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95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4pPr>
            <a:lvl5pPr marL="6350" indent="0" algn="l" defTabSz="685640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9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5pPr>
            <a:lvl6pPr marL="188551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33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5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7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de-DE" b="1" dirty="0">
                <a:solidFill>
                  <a:srgbClr val="5F6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s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 „Effiziente Kommunikation und Konfliktlösung“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DE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A-Workshop</a:t>
            </a:r>
            <a:endParaRPr lang="de-DE" sz="1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0201BE1D-D2E9-8004-FB1C-484953B208FD}"/>
              </a:ext>
            </a:extLst>
          </p:cNvPr>
          <p:cNvSpPr txBox="1">
            <a:spLocks/>
          </p:cNvSpPr>
          <p:nvPr/>
        </p:nvSpPr>
        <p:spPr>
          <a:xfrm>
            <a:off x="5981269" y="3197015"/>
            <a:ext cx="3271277" cy="858883"/>
          </a:xfrm>
          <a:prstGeom prst="rect">
            <a:avLst/>
          </a:prstGeom>
        </p:spPr>
        <p:txBody>
          <a:bodyPr/>
          <a:lstStyle>
            <a:lvl1pPr marL="6350" marR="0" indent="0" algn="l" defTabSz="68564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None/>
              <a:tabLst/>
              <a:defRPr sz="16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1pPr>
            <a:lvl2pPr marL="6350" marR="0" indent="0" algn="l" defTabSz="68564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None/>
              <a:tabLst/>
              <a:defRPr sz="14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2pPr>
            <a:lvl3pPr marL="6350" indent="0" algn="l" defTabSz="685640" rtl="0" eaLnBrk="1" latinLnBrk="0" hangingPunct="1">
              <a:lnSpc>
                <a:spcPts val="17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12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3pPr>
            <a:lvl4pPr marL="6350" indent="0" algn="l" defTabSz="685640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95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4pPr>
            <a:lvl5pPr marL="6350" indent="0" algn="l" defTabSz="685640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9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5pPr>
            <a:lvl6pPr marL="188551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33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5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7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de-DE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ch-Diskussionen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s Arroganz Prinzip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de-DE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</a:t>
            </a:r>
            <a:r>
              <a:rPr lang="de-DE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for Life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ing </a:t>
            </a:r>
            <a:r>
              <a:rPr lang="de-DE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ly</a:t>
            </a:r>
            <a:endParaRPr lang="de-DE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CC6BFA0C-0F88-D024-4FBF-6852F9BD01B4}"/>
              </a:ext>
            </a:extLst>
          </p:cNvPr>
          <p:cNvSpPr txBox="1">
            <a:spLocks/>
          </p:cNvSpPr>
          <p:nvPr/>
        </p:nvSpPr>
        <p:spPr>
          <a:xfrm>
            <a:off x="5979004" y="1774694"/>
            <a:ext cx="3271277" cy="858883"/>
          </a:xfrm>
          <a:prstGeom prst="rect">
            <a:avLst/>
          </a:prstGeom>
        </p:spPr>
        <p:txBody>
          <a:bodyPr/>
          <a:lstStyle>
            <a:lvl1pPr marL="6350" marR="0" indent="0" algn="l" defTabSz="68564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None/>
              <a:tabLst/>
              <a:defRPr sz="16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1pPr>
            <a:lvl2pPr marL="6350" marR="0" indent="0" algn="l" defTabSz="68564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80C3F2"/>
              </a:buClr>
              <a:buSzTx/>
              <a:buFont typeface="Wingdings" pitchFamily="2" charset="2"/>
              <a:buNone/>
              <a:tabLst/>
              <a:defRPr sz="14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2pPr>
            <a:lvl3pPr marL="6350" indent="0" algn="l" defTabSz="685640" rtl="0" eaLnBrk="1" latinLnBrk="0" hangingPunct="1">
              <a:lnSpc>
                <a:spcPts val="17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12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3pPr>
            <a:lvl4pPr marL="6350" indent="0" algn="l" defTabSz="685640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95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4pPr>
            <a:lvl5pPr marL="6350" indent="0" algn="l" defTabSz="685640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80C3F2"/>
              </a:buClr>
              <a:buFontTx/>
              <a:buNone/>
              <a:tabLst/>
              <a:defRPr sz="900" b="0" i="0" kern="1200">
                <a:solidFill>
                  <a:srgbClr val="000000"/>
                </a:solidFill>
                <a:latin typeface="Nunito Sans Light" pitchFamily="2" charset="77"/>
                <a:ea typeface="+mn-ea"/>
                <a:cs typeface="+mn-cs"/>
              </a:defRPr>
            </a:lvl5pPr>
            <a:lvl6pPr marL="188551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33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5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70" indent="-171410" algn="l" defTabSz="68564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k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ksführung DB-Instandhaltung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tGPT und KI-Tools</a:t>
            </a:r>
          </a:p>
          <a:p>
            <a:pPr marL="331907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6053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76000" y="972000"/>
            <a:ext cx="8350643" cy="359073"/>
          </a:xfrm>
        </p:spPr>
        <p:txBody>
          <a:bodyPr/>
          <a:lstStyle/>
          <a:p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FIB-Beiträ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576000" y="644400"/>
            <a:ext cx="7603889" cy="227755"/>
          </a:xfrm>
        </p:spPr>
        <p:txBody>
          <a:bodyPr/>
          <a:lstStyle/>
          <a:p>
            <a:r>
              <a:rPr lang="de-DE" dirty="0"/>
              <a:t>Frauen im Ingenieurberuf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24EC688-5128-47C1-BAC8-61C4DBB9C37F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  <p:cxnSp>
        <p:nvCxnSpPr>
          <p:cNvPr id="8" name="Gerader Verbinder 7"/>
          <p:cNvCxnSpPr/>
          <p:nvPr/>
        </p:nvCxnSpPr>
        <p:spPr>
          <a:xfrm>
            <a:off x="576000" y="1331073"/>
            <a:ext cx="83506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ADA74AFE-468E-67F1-7157-E302DDA255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6177" y="1439672"/>
            <a:ext cx="2855144" cy="25770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E9BA21A-16FF-D516-58D9-6FD3B3B9D7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47" y="1430918"/>
            <a:ext cx="2855144" cy="35467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DC8B9FB-8F03-D7D3-9044-2C59D61232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5909" y="3102781"/>
            <a:ext cx="2371733" cy="18104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9447F53-F803-5BA5-F42A-4A008F957B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5908" y="1429776"/>
            <a:ext cx="2371733" cy="12481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4DEC3984-C402-9A04-AEAF-62D03C8E29BD}"/>
              </a:ext>
            </a:extLst>
          </p:cNvPr>
          <p:cNvGrpSpPr/>
          <p:nvPr/>
        </p:nvGrpSpPr>
        <p:grpSpPr>
          <a:xfrm>
            <a:off x="3778773" y="4307193"/>
            <a:ext cx="1967610" cy="714410"/>
            <a:chOff x="3886252" y="4385795"/>
            <a:chExt cx="1967610" cy="714410"/>
          </a:xfrm>
        </p:grpSpPr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EEF9BB23-07A9-0DFF-F445-A4E3BB026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144610" y="4385795"/>
              <a:ext cx="709252" cy="71441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2E3605CC-6417-09B0-0383-C5690666E813}"/>
                </a:ext>
              </a:extLst>
            </p:cNvPr>
            <p:cNvSpPr txBox="1"/>
            <p:nvPr/>
          </p:nvSpPr>
          <p:spPr>
            <a:xfrm>
              <a:off x="3886252" y="4632533"/>
              <a:ext cx="1258358" cy="14234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/>
            <a:p>
              <a:pPr algn="l">
                <a:lnSpc>
                  <a:spcPts val="1100"/>
                </a:lnSpc>
                <a:buClr>
                  <a:schemeClr val="bg1"/>
                </a:buClr>
              </a:pPr>
              <a:r>
                <a:rPr lang="en-GB" sz="950" b="1" dirty="0">
                  <a:solidFill>
                    <a:srgbClr val="000000"/>
                  </a:solidFill>
                  <a:latin typeface="+mn-lt"/>
                  <a:cs typeface="+mn-cs"/>
                </a:rPr>
                <a:t>#IngenieurinDerWoch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79740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018DC5-9C7C-BA6C-8385-3D6D8CBEE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6619ED5-131A-825D-B5BD-93FAB3653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8350643" cy="359073"/>
          </a:xfrm>
        </p:spPr>
        <p:txBody>
          <a:bodyPr/>
          <a:lstStyle/>
          <a:p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Interesse von Mädchen / Frauen an MIN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FF73E58-F55E-3189-6C28-A078C12CFF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644400"/>
            <a:ext cx="7603889" cy="227755"/>
          </a:xfrm>
        </p:spPr>
        <p:txBody>
          <a:bodyPr/>
          <a:lstStyle/>
          <a:p>
            <a:r>
              <a:rPr lang="de-DE" dirty="0"/>
              <a:t>Frauen im Ingenieurberuf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F59A942-4D76-E95D-A299-D8A7EB18317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24EC688-5128-47C1-BAC8-61C4DBB9C37F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2EBAC4B-F382-5493-D2CB-4CE4A13772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D097B95-4D4A-C534-D7AA-8993597BE854}"/>
              </a:ext>
            </a:extLst>
          </p:cNvPr>
          <p:cNvCxnSpPr/>
          <p:nvPr/>
        </p:nvCxnSpPr>
        <p:spPr>
          <a:xfrm>
            <a:off x="576000" y="1331073"/>
            <a:ext cx="83506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 descr="Ein Bild, das Text, Screenshot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C7C393C5-4FD9-34E1-D2DC-444408A6EF4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827"/>
          <a:stretch/>
        </p:blipFill>
        <p:spPr>
          <a:xfrm>
            <a:off x="746760" y="1690146"/>
            <a:ext cx="7650480" cy="288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67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AE5AFA2-D8AD-6FF7-3EF0-AA332C4DF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972000"/>
            <a:ext cx="7603889" cy="359073"/>
          </a:xfrm>
        </p:spPr>
        <p:txBody>
          <a:bodyPr/>
          <a:lstStyle/>
          <a:p>
            <a:r>
              <a:rPr lang="de-DE" sz="3200" dirty="0">
                <a:latin typeface="+mj-lt"/>
              </a:rPr>
              <a:t>Kontaktda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6E4C372-BAF3-1EDC-1453-140D8D98A0C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238CB22-B5CA-4E0A-B33D-4BD214B798A8}" type="datetime1">
              <a:rPr lang="de-DE" sz="900" smtClean="0"/>
              <a:t>06.04.2025</a:t>
            </a:fld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076DFEF-76A1-54AC-5037-B0B1CF807FB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Koordination der Netzwerke</a:t>
            </a:r>
            <a:endParaRPr lang="de-DE" dirty="0"/>
          </a:p>
        </p:txBody>
      </p: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1F630BC6-579F-C49A-19BA-B1C2D5829232}"/>
              </a:ext>
            </a:extLst>
          </p:cNvPr>
          <p:cNvGrpSpPr/>
          <p:nvPr/>
        </p:nvGrpSpPr>
        <p:grpSpPr>
          <a:xfrm>
            <a:off x="579423" y="2978070"/>
            <a:ext cx="2265685" cy="1823151"/>
            <a:chOff x="782638" y="2272567"/>
            <a:chExt cx="2265685" cy="1823151"/>
          </a:xfrm>
        </p:grpSpPr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EDCE407A-78F6-3DC0-3B5E-22292ACA9652}"/>
                </a:ext>
              </a:extLst>
            </p:cNvPr>
            <p:cNvSpPr/>
            <p:nvPr/>
          </p:nvSpPr>
          <p:spPr>
            <a:xfrm>
              <a:off x="782638" y="2497601"/>
              <a:ext cx="2040093" cy="159811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"/>
            </a:p>
          </p:txBody>
        </p:sp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1C28CFFA-486B-9098-3C49-C9DAD092A64B}"/>
                </a:ext>
              </a:extLst>
            </p:cNvPr>
            <p:cNvGrpSpPr/>
            <p:nvPr/>
          </p:nvGrpSpPr>
          <p:grpSpPr>
            <a:xfrm>
              <a:off x="2356898" y="2272567"/>
              <a:ext cx="691425" cy="691425"/>
              <a:chOff x="5706319" y="5440101"/>
              <a:chExt cx="2048719" cy="2048719"/>
            </a:xfrm>
          </p:grpSpPr>
          <p:sp>
            <p:nvSpPr>
              <p:cNvPr id="84" name="Rechteck 83">
                <a:extLst>
                  <a:ext uri="{FF2B5EF4-FFF2-40B4-BE49-F238E27FC236}">
                    <a16:creationId xmlns:a16="http://schemas.microsoft.com/office/drawing/2014/main" id="{FDE5A6BE-F649-29BF-E226-DAA42092888F}"/>
                  </a:ext>
                </a:extLst>
              </p:cNvPr>
              <p:cNvSpPr/>
              <p:nvPr/>
            </p:nvSpPr>
            <p:spPr>
              <a:xfrm>
                <a:off x="5706319" y="5440101"/>
                <a:ext cx="2048719" cy="66678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0"/>
              </a:p>
            </p:txBody>
          </p:sp>
          <p:sp>
            <p:nvSpPr>
              <p:cNvPr id="85" name="Rechteck 84">
                <a:extLst>
                  <a:ext uri="{FF2B5EF4-FFF2-40B4-BE49-F238E27FC236}">
                    <a16:creationId xmlns:a16="http://schemas.microsoft.com/office/drawing/2014/main" id="{8E670774-09A6-CE7E-3B59-A1AF0F8CD339}"/>
                  </a:ext>
                </a:extLst>
              </p:cNvPr>
              <p:cNvSpPr/>
              <p:nvPr/>
            </p:nvSpPr>
            <p:spPr>
              <a:xfrm rot="16200000">
                <a:off x="6395634" y="6131068"/>
                <a:ext cx="2048719" cy="6667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0"/>
              </a:p>
            </p:txBody>
          </p:sp>
        </p:grp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82AA623F-08E8-1C68-DBC8-08DA7D49EBD5}"/>
                </a:ext>
              </a:extLst>
            </p:cNvPr>
            <p:cNvSpPr txBox="1"/>
            <p:nvPr/>
          </p:nvSpPr>
          <p:spPr>
            <a:xfrm>
              <a:off x="783779" y="2497602"/>
              <a:ext cx="2040093" cy="1598116"/>
            </a:xfrm>
            <a:prstGeom prst="rect">
              <a:avLst/>
            </a:prstGeom>
            <a:noFill/>
          </p:spPr>
          <p:txBody>
            <a:bodyPr wrap="square" lIns="125999" tIns="125999" rIns="108000" bIns="0" rtlCol="0" anchor="ctr">
              <a:noAutofit/>
            </a:bodyPr>
            <a:lstStyle/>
            <a:p>
              <a:pPr>
                <a:lnSpc>
                  <a:spcPts val="3645"/>
                </a:lnSpc>
              </a:pPr>
              <a:r>
                <a:rPr lang="de-DE" sz="2800" b="1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Wir</a:t>
              </a:r>
            </a:p>
            <a:p>
              <a:pPr>
                <a:lnSpc>
                  <a:spcPts val="3645"/>
                </a:lnSpc>
              </a:pPr>
              <a:r>
                <a:rPr lang="de-DE" sz="2800" b="1" dirty="0">
                  <a:solidFill>
                    <a:schemeClr val="bg2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gestalten</a:t>
              </a:r>
            </a:p>
            <a:p>
              <a:pPr>
                <a:lnSpc>
                  <a:spcPts val="3645"/>
                </a:lnSpc>
              </a:pPr>
              <a:r>
                <a:rPr lang="de-DE" sz="2800" b="1" dirty="0">
                  <a:solidFill>
                    <a:srgbClr val="9DD0F4"/>
                  </a:solidFill>
                  <a:latin typeface="Rajdhani Bold" panose="02000000000000000000" pitchFamily="2" charset="0"/>
                  <a:cs typeface="Rajdhani Bold" panose="02000000000000000000" pitchFamily="2" charset="0"/>
                </a:rPr>
                <a:t>Zukunft</a:t>
              </a:r>
            </a:p>
          </p:txBody>
        </p:sp>
      </p:grpSp>
      <p:graphicFrame>
        <p:nvGraphicFramePr>
          <p:cNvPr id="2" name="Diagramm 1"/>
          <p:cNvGraphicFramePr/>
          <p:nvPr>
            <p:extLst>
              <p:ext uri="{D42A27DB-BD31-4B8C-83A1-F6EECF244321}">
                <p14:modId xmlns:p14="http://schemas.microsoft.com/office/powerpoint/2010/main" val="4206343707"/>
              </p:ext>
            </p:extLst>
          </p:nvPr>
        </p:nvGraphicFramePr>
        <p:xfrm>
          <a:off x="2843410" y="17399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45087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VDI PowerPoint">
      <a:dk1>
        <a:srgbClr val="003EAA"/>
      </a:dk1>
      <a:lt1>
        <a:srgbClr val="9DD0F3"/>
      </a:lt1>
      <a:dk2>
        <a:srgbClr val="44546A"/>
      </a:dk2>
      <a:lt2>
        <a:srgbClr val="FFFFFF"/>
      </a:lt2>
      <a:accent1>
        <a:srgbClr val="003EAA"/>
      </a:accent1>
      <a:accent2>
        <a:srgbClr val="9DD0F3"/>
      </a:accent2>
      <a:accent3>
        <a:srgbClr val="FE5900"/>
      </a:accent3>
      <a:accent4>
        <a:srgbClr val="00C7B1"/>
      </a:accent4>
      <a:accent5>
        <a:srgbClr val="5B9BD5"/>
      </a:accent5>
      <a:accent6>
        <a:srgbClr val="D9D9D6"/>
      </a:accent6>
      <a:hlink>
        <a:srgbClr val="FE5900"/>
      </a:hlink>
      <a:folHlink>
        <a:srgbClr val="FE8B4D"/>
      </a:folHlink>
    </a:clrScheme>
    <a:fontScheme name="VDI Schriften">
      <a:majorFont>
        <a:latin typeface="Rajdhani Bold"/>
        <a:ea typeface=""/>
        <a:cs typeface=""/>
      </a:majorFont>
      <a:minorFont>
        <a:latin typeface="Nunit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>
        <a:spAutoFit/>
      </a:bodyPr>
      <a:lstStyle>
        <a:defPPr marL="230400" indent="-230400" algn="l">
          <a:lnSpc>
            <a:spcPts val="1100"/>
          </a:lnSpc>
          <a:buClr>
            <a:schemeClr val="bg1"/>
          </a:buClr>
          <a:buFont typeface="+mj-lt"/>
          <a:buAutoNum type="arabicPeriod"/>
          <a:defRPr sz="950" dirty="0" smtClean="0">
            <a:solidFill>
              <a:srgbClr val="000000"/>
            </a:solidFill>
            <a:latin typeface="+mn-lt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DI_BV_Master_PPT" id="{1A0853E5-A687-41A2-B110-087523045A1C}" vid="{F66B559C-D75D-4EC0-BFB6-D0C4817F538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ToolboxDokument" ma:contentTypeID="0x0101009B1C048D7E62604EBE016009B3A53C8E0017967B9841E6BE41ADB8D8453209E805" ma:contentTypeVersion="3" ma:contentTypeDescription="" ma:contentTypeScope="" ma:versionID="ff0a31c98edbb1210e78ceebf384e4c7">
  <xsd:schema xmlns:xsd="http://www.w3.org/2001/XMLSchema" xmlns:xs="http://www.w3.org/2001/XMLSchema" xmlns:p="http://schemas.microsoft.com/office/2006/metadata/properties" xmlns:ns2="b297c405-0501-46eb-b9bb-5678210864b3" targetNamespace="http://schemas.microsoft.com/office/2006/metadata/properties" ma:root="true" ma:fieldsID="4d30d313b526fab82086a7526cc694ed" ns2:_="">
    <xsd:import namespace="b297c405-0501-46eb-b9bb-5678210864b3"/>
    <xsd:element name="properties">
      <xsd:complexType>
        <xsd:sequence>
          <xsd:element name="documentManagement">
            <xsd:complexType>
              <xsd:all>
                <xsd:element ref="ns2:Kurzbeschreibung" minOccurs="0"/>
                <xsd:element ref="ns2:Thumbnail1" minOccurs="0"/>
                <xsd:element ref="ns2:da5b30cf930840c194e2be69db414236" minOccurs="0"/>
                <xsd:element ref="ns2:TaxCatchAll" minOccurs="0"/>
                <xsd:element ref="ns2:TaxCatchAllLabel" minOccurs="0"/>
                <xsd:element ref="ns2:cc9a7501d1d5464ebf93a8572e25633b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97c405-0501-46eb-b9bb-5678210864b3" elementFormDefault="qualified">
    <xsd:import namespace="http://schemas.microsoft.com/office/2006/documentManagement/types"/>
    <xsd:import namespace="http://schemas.microsoft.com/office/infopath/2007/PartnerControls"/>
    <xsd:element name="Kurzbeschreibung" ma:index="8" nillable="true" ma:displayName="Kurzbeschreibung" ma:internalName="Kurzbeschreibung">
      <xsd:simpleType>
        <xsd:restriction base="dms:Note">
          <xsd:maxLength value="255"/>
        </xsd:restriction>
      </xsd:simpleType>
    </xsd:element>
    <xsd:element name="Thumbnail1" ma:index="9" nillable="true" ma:displayName="Thumbnail1" ma:internalName="Thumbnail1">
      <xsd:simpleType>
        <xsd:restriction base="dms:Unknown"/>
      </xsd:simpleType>
    </xsd:element>
    <xsd:element name="da5b30cf930840c194e2be69db414236" ma:index="10" nillable="true" ma:taxonomy="true" ma:internalName="da5b30cf930840c194e2be69db414236" ma:taxonomyFieldName="Toolbox" ma:displayName="Toolbox" ma:default="" ma:fieldId="{da5b30cf-9308-40c1-94e2-be69db414236}" ma:sspId="97d167fa-c44f-44cb-b759-2449e277f124" ma:termSetId="908e0c3c-cbd5-4839-960f-f0bb41fda4f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1" nillable="true" ma:displayName="Taxonomiespalte &quot;Alle abfangen&quot;" ma:description="" ma:hidden="true" ma:list="{83fc2455-e2d4-48f8-8d91-3dfdf8cbe0f5}" ma:internalName="TaxCatchAll" ma:showField="CatchAllData" ma:web="b297c405-0501-46eb-b9bb-5678210864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iespalte &quot;Alle abfangen&quot;1" ma:description="" ma:hidden="true" ma:list="{83fc2455-e2d4-48f8-8d91-3dfdf8cbe0f5}" ma:internalName="TaxCatchAllLabel" ma:readOnly="true" ma:showField="CatchAllDataLabel" ma:web="b297c405-0501-46eb-b9bb-5678210864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c9a7501d1d5464ebf93a8572e25633b" ma:index="14" nillable="true" ma:taxonomy="true" ma:internalName="cc9a7501d1d5464ebf93a8572e25633b" ma:taxonomyFieldName="Zugehoerigkeit" ma:displayName="Zugehoerigkeit" ma:default="" ma:fieldId="{cc9a7501-d1d5-464e-bf93-a8572e25633b}" ma:taxonomyMulti="true" ma:sspId="97d167fa-c44f-44cb-b759-2449e277f124" ma:termSetId="b43531b8-267f-40bb-932c-8ac377aca8c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16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297c405-0501-46eb-b9bb-5678210864b3"/>
    <SharedWithUsers xmlns="b297c405-0501-46eb-b9bb-5678210864b3">
      <UserInfo>
        <DisplayName/>
        <AccountId xsi:nil="true"/>
        <AccountType/>
      </UserInfo>
    </SharedWithUsers>
    <Kurzbeschreibung xmlns="b297c405-0501-46eb-b9bb-5678210864b3" xsi:nil="true"/>
    <Thumbnail1 xmlns="b297c405-0501-46eb-b9bb-5678210864b3" xsi:nil="true"/>
    <da5b30cf930840c194e2be69db414236 xmlns="b297c405-0501-46eb-b9bb-5678210864b3">
      <Terms xmlns="http://schemas.microsoft.com/office/infopath/2007/PartnerControls"/>
    </da5b30cf930840c194e2be69db414236>
    <cc9a7501d1d5464ebf93a8572e25633b xmlns="b297c405-0501-46eb-b9bb-5678210864b3">
      <Terms xmlns="http://schemas.microsoft.com/office/infopath/2007/PartnerControls"/>
    </cc9a7501d1d5464ebf93a8572e25633b>
  </documentManagement>
</p:properties>
</file>

<file path=customXml/itemProps1.xml><?xml version="1.0" encoding="utf-8"?>
<ds:datastoreItem xmlns:ds="http://schemas.openxmlformats.org/officeDocument/2006/customXml" ds:itemID="{A71C4312-075E-419D-A547-08D67D0E92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97c405-0501-46eb-b9bb-5678210864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4AB747E-20A8-46EC-83F5-745BF62DC7B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A82806-09DB-4900-A37C-5DEC1635A7A9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297c405-0501-46eb-b9bb-5678210864b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1</Words>
  <Application>Microsoft Office PowerPoint</Application>
  <PresentationFormat>Bildschirmpräsentation (16:10)</PresentationFormat>
  <Paragraphs>47</Paragraphs>
  <Slides>5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Calibri</vt:lpstr>
      <vt:lpstr>Nunito Sans Light</vt:lpstr>
      <vt:lpstr>Rajdhani Bold</vt:lpstr>
      <vt:lpstr>Wingdings</vt:lpstr>
      <vt:lpstr>Office</vt:lpstr>
      <vt:lpstr>Frauen im Ingenieurberuf</vt:lpstr>
      <vt:lpstr>Treffen im Jahr 2024 / 25</vt:lpstr>
      <vt:lpstr>FIB-Beiträge</vt:lpstr>
      <vt:lpstr>Interesse von Mädchen / Frauen an MINT</vt:lpstr>
      <vt:lpstr>Kontaktdat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</dc:title>
  <dc:creator>Ina Sartor</dc:creator>
  <cp:lastModifiedBy>Verena Schmidt</cp:lastModifiedBy>
  <cp:revision>463</cp:revision>
  <cp:lastPrinted>2022-06-14T18:03:05Z</cp:lastPrinted>
  <dcterms:created xsi:type="dcterms:W3CDTF">2022-06-14T18:02:03Z</dcterms:created>
  <dcterms:modified xsi:type="dcterms:W3CDTF">2025-04-06T08:5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1C048D7E62604EBE016009B3A53C8E0017967B9841E6BE41ADB8D8453209E805</vt:lpwstr>
  </property>
  <property fmtid="{D5CDD505-2E9C-101B-9397-08002B2CF9AE}" pid="3" name="MediaServiceImageTags">
    <vt:lpwstr/>
  </property>
  <property fmtid="{D5CDD505-2E9C-101B-9397-08002B2CF9AE}" pid="4" name="Order">
    <vt:lpwstr>2436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</Properties>
</file>